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.xml" ContentType="application/vnd.openxmlformats-officedocument.theme+xml"/>
  <Override PartName="/ppt/slideLayouts/slideLayout138.xml" ContentType="application/vnd.openxmlformats-officedocument.presentationml.slideLayout+xml"/>
  <Override PartName="/ppt/theme/theme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4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5.xml" ContentType="application/vnd.openxmlformats-officedocument.theme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6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7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58" r:id="rId4"/>
    <p:sldMasterId id="2147483779" r:id="rId5"/>
    <p:sldMasterId id="2147483679" r:id="rId6"/>
    <p:sldMasterId id="2147484164" r:id="rId7"/>
    <p:sldMasterId id="2147484090" r:id="rId8"/>
    <p:sldMasterId id="2147484368" r:id="rId9"/>
    <p:sldMasterId id="2147484379" r:id="rId10"/>
    <p:sldMasterId id="2147483861" r:id="rId11"/>
  </p:sldMasterIdLst>
  <p:notesMasterIdLst>
    <p:notesMasterId r:id="rId24"/>
  </p:notesMasterIdLst>
  <p:sldIdLst>
    <p:sldId id="2147472668" r:id="rId12"/>
    <p:sldId id="2147472670" r:id="rId13"/>
    <p:sldId id="2147472671" r:id="rId14"/>
    <p:sldId id="2147472672" r:id="rId15"/>
    <p:sldId id="2147472673" r:id="rId16"/>
    <p:sldId id="2147472674" r:id="rId17"/>
    <p:sldId id="2147472675" r:id="rId18"/>
    <p:sldId id="2147472676" r:id="rId19"/>
    <p:sldId id="2147472678" r:id="rId20"/>
    <p:sldId id="2147472689" r:id="rId21"/>
    <p:sldId id="2147472690" r:id="rId22"/>
    <p:sldId id="2147472692" r:id="rId2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AE4292A-C01E-D318-3032-DC5C9D4D7593}" name="Steele, Paul" initials="SP" userId="S::psteele@lionsclubs.org::a7853ce1-360d-4885-a737-cbbdc7d48bc5" providerId="AD"/>
  <p188:author id="{1223E649-A166-7220-E93D-0BA76244FEE1}" name="Emily Johnson" initials="EJ" userId="0bAjUSrBw5qyGrgAjXwAC3mRQgyXtT3q1XbtXugmSpI=" providerId="None"/>
  <p188:author id="{1418B17B-DBB9-0A33-0B79-188CC4B487FF}" name="Lerner, Caryn" initials="LC" userId="S::clerner@lionsclubs.org::9adff42e-bc91-41c4-9a17-e29a396e89cb" providerId="AD"/>
  <p188:author id="{2073948F-ECF8-EC0E-45C9-12A1A936BDE5}" name="Mary Campbell" initials="MC" userId="0pN06XNj2aWyyD+4CajdWg6rjvu+rj42kDA1Dg+9PME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rner, Caryn" initials="LC" lastIdx="23" clrIdx="0">
    <p:extLst>
      <p:ext uri="{19B8F6BF-5375-455C-9EA6-DF929625EA0E}">
        <p15:presenceInfo xmlns:p15="http://schemas.microsoft.com/office/powerpoint/2012/main" userId="S::clerner@lionsclubs.org::9adff42e-bc91-41c4-9a17-e29a396e89c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BB700"/>
    <a:srgbClr val="0D2240"/>
    <a:srgbClr val="009383"/>
    <a:srgbClr val="00AB68"/>
    <a:srgbClr val="407C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53605" autoAdjust="0"/>
  </p:normalViewPr>
  <p:slideViewPr>
    <p:cSldViewPr snapToGrid="0" snapToObjects="1">
      <p:cViewPr varScale="1">
        <p:scale>
          <a:sx n="65" d="100"/>
          <a:sy n="65" d="100"/>
        </p:scale>
        <p:origin x="2912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2744" y="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antti\AppData\Local\Microsoft\Windows\INetCache\Content.Outlook\8RW4JJTF\Total%20by%20country.xlsx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ul3!$G$6:$G$29</cx:f>
        <cx:lvl ptCount="24">
          <cx:pt idx="0">Italy</cx:pt>
          <cx:pt idx="1">Norway</cx:pt>
          <cx:pt idx="2">Finland</cx:pt>
          <cx:pt idx="3">Netherlands</cx:pt>
          <cx:pt idx="4">Belgium</cx:pt>
          <cx:pt idx="5">Germany</cx:pt>
          <cx:pt idx="6">Iceland</cx:pt>
          <cx:pt idx="7">Switzerland</cx:pt>
          <cx:pt idx="8">Estonia</cx:pt>
          <cx:pt idx="9">British Isles</cx:pt>
          <cx:pt idx="10">Canada</cx:pt>
          <cx:pt idx="11">Denmark</cx:pt>
          <cx:pt idx="12">Lithuania</cx:pt>
          <cx:pt idx="13">All other countries</cx:pt>
        </cx:lvl>
      </cx:strDim>
      <cx:numDim type="size">
        <cx:f>Taul3!$H$6:$H$29</cx:f>
        <cx:lvl ptCount="24" formatCode="_-* # ##0\ &quot;€&quot;_-;\-* # ##0\ &quot;€&quot;_-;_-* &quot;-&quot;\ &quot;€&quot;_-;_-@_-">
          <cx:pt idx="0">212238.14000000001</cx:pt>
          <cx:pt idx="1">187200</cx:pt>
          <cx:pt idx="2">156453</cx:pt>
          <cx:pt idx="3">117500</cx:pt>
          <cx:pt idx="4">115500</cx:pt>
          <cx:pt idx="5">83429.020000000004</cx:pt>
          <cx:pt idx="6">73674.529999999999</cx:pt>
          <cx:pt idx="7">43570.889999999999</cx:pt>
          <cx:pt idx="8">19942</cx:pt>
          <cx:pt idx="9">17633.141147999999</cx:pt>
          <cx:pt idx="10">16931.896910702144</cx:pt>
          <cx:pt idx="11">15000</cx:pt>
          <cx:pt idx="12">13650</cx:pt>
          <cx:pt idx="13">37150</cx:pt>
        </cx:lvl>
      </cx:numDim>
    </cx:data>
  </cx:chartData>
  <cx:chart>
    <cx:plotArea>
      <cx:plotAreaRegion>
        <cx:series layoutId="treemap" uniqueId="{8AC6ACB7-D19F-4826-AE06-3652196B4F2F}">
          <cx:dataLabels pos="ctr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050">
                    <a:solidFill>
                      <a:schemeClr val="accent6"/>
                    </a:solidFill>
                  </a:defRPr>
                </a:pPr>
                <a:endParaRPr lang="fi-FI" sz="1050" b="1" i="0" u="none" strike="noStrike" baseline="0">
                  <a:solidFill>
                    <a:schemeClr val="accent6"/>
                  </a:solidFill>
                  <a:latin typeface="Segoe UI Semibold"/>
                </a:endParaRPr>
              </a:p>
            </cx:txPr>
            <cx:visibility seriesName="0" categoryName="1" value="1"/>
            <cx:separator>, </cx:separator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100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CF3CB4F-A176-2C43-99AA-7687642B8183}" type="datetimeFigureOut">
              <a:rPr lang="en-US" smtClean="0"/>
              <a:t>11/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AE45CF7-7425-FD40-8218-CC60E76BE5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5891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E45CF7-7425-FD40-8218-CC60E76BE5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875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378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2351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70F1C-6A58-4466-8084-1EDED8104B8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382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70F1C-6A58-4466-8084-1EDED8104B8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352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70F1C-6A58-4466-8084-1EDED8104B8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316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gi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gi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8.png"/><Relationship Id="rId4" Type="http://schemas.microsoft.com/office/2007/relationships/hdphoto" Target="../media/hdphoto2.wdp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8.png"/><Relationship Id="rId4" Type="http://schemas.microsoft.com/office/2007/relationships/hdphoto" Target="../media/hdphoto8.wdp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9.png"/><Relationship Id="rId4" Type="http://schemas.microsoft.com/office/2007/relationships/hdphoto" Target="../media/hdphoto2.wdp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9.png"/><Relationship Id="rId4" Type="http://schemas.microsoft.com/office/2007/relationships/hdphoto" Target="../media/hdphoto9.wdp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8.png"/><Relationship Id="rId4" Type="http://schemas.microsoft.com/office/2007/relationships/hdphoto" Target="../media/hdphoto10.wdp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9.png"/><Relationship Id="rId4" Type="http://schemas.microsoft.com/office/2007/relationships/hdphoto" Target="../media/hdphoto5.wdp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8.png"/><Relationship Id="rId4" Type="http://schemas.microsoft.com/office/2007/relationships/hdphoto" Target="../media/hdphoto11.wdp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9.png"/><Relationship Id="rId4" Type="http://schemas.microsoft.com/office/2007/relationships/hdphoto" Target="../media/hdphoto12.wdp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8.png"/><Relationship Id="rId4" Type="http://schemas.microsoft.com/office/2007/relationships/hdphoto" Target="../media/hdphoto13.wdp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gi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gi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9.png"/><Relationship Id="rId4" Type="http://schemas.microsoft.com/office/2007/relationships/hdphoto" Target="../media/hdphoto8.wdp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9.png"/><Relationship Id="rId4" Type="http://schemas.microsoft.com/office/2007/relationships/hdphoto" Target="../media/hdphoto8.wdp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9.png"/><Relationship Id="rId4" Type="http://schemas.microsoft.com/office/2007/relationships/hdphoto" Target="../media/hdphoto14.wdp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png"/><Relationship Id="rId4" Type="http://schemas.microsoft.com/office/2007/relationships/hdphoto" Target="../media/hdphoto2.wdp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9.png"/><Relationship Id="rId4" Type="http://schemas.microsoft.com/office/2007/relationships/hdphoto" Target="../media/hdphoto15.wdp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png"/><Relationship Id="rId4" Type="http://schemas.microsoft.com/office/2007/relationships/hdphoto" Target="../media/hdphoto16.wdp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9.png"/><Relationship Id="rId4" Type="http://schemas.microsoft.com/office/2007/relationships/hdphoto" Target="../media/hdphoto15.wdp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png"/><Relationship Id="rId4" Type="http://schemas.microsoft.com/office/2007/relationships/hdphoto" Target="../media/hdphoto5.wdp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9.png"/><Relationship Id="rId4" Type="http://schemas.microsoft.com/office/2007/relationships/hdphoto" Target="../media/hdphoto5.wdp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gi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microsoft.com/office/2007/relationships/hdphoto" Target="../media/hdphoto2.wdp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8.png"/><Relationship Id="rId4" Type="http://schemas.microsoft.com/office/2007/relationships/hdphoto" Target="../media/hdphoto3.wdp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microsoft.com/office/2007/relationships/hdphoto" Target="../media/hdphoto4.wdp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8.png"/><Relationship Id="rId4" Type="http://schemas.microsoft.com/office/2007/relationships/hdphoto" Target="../media/hdphoto5.wdp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microsoft.com/office/2007/relationships/hdphoto" Target="../media/hdphoto5.wdp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8.png"/><Relationship Id="rId4" Type="http://schemas.microsoft.com/office/2007/relationships/hdphoto" Target="../media/hdphoto6.wdp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microsoft.com/office/2007/relationships/hdphoto" Target="../media/hdphoto7.wdp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microsoft.com/office/2007/relationships/hdphoto" Target="../media/hdphoto8.wdp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8.png"/><Relationship Id="rId4" Type="http://schemas.microsoft.com/office/2007/relationships/hdphoto" Target="../media/hdphoto5.wdp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3396DB-1F56-6D4A-BCDC-A5F1B4E3E7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74E8E-73DC-B94C-AC22-082FD083696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A7F0D7D1-1430-0D43-B6B9-B46069553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1165531-C215-804F-AE12-55E8E3E82EFF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45DA1B5-E441-0844-B645-78621A90868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4E11239-27D7-A349-9313-6F72C8353D7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FFB1BE5A-FAB0-9A45-A856-0089E4ECC20C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B15404F-B2E8-0C49-ADDD-0D23A833D5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3234850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113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Side Circle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2755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877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375921"/>
            <a:ext cx="11337925" cy="603503"/>
          </a:xfrm>
        </p:spPr>
        <p:txBody>
          <a:bodyPr/>
          <a:lstStyle>
            <a:lvl1pPr>
              <a:defRPr sz="2000" cap="none" spc="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67662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375921"/>
            <a:ext cx="11337925" cy="603503"/>
          </a:xfrm>
        </p:spPr>
        <p:txBody>
          <a:bodyPr/>
          <a:lstStyle>
            <a:lvl1pPr>
              <a:defRPr sz="2000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66031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2FFF44-DBF6-4F9F-9F70-A48E8AF8336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30213" y="1146175"/>
            <a:ext cx="11337925" cy="4859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12399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43F5D7-900A-AC42-A63B-4FA78C0EA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4081" y="1327684"/>
            <a:ext cx="3724915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18" y="417404"/>
            <a:ext cx="1966916" cy="574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4106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C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43F5D7-900A-AC42-A63B-4FA78C0EA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8483" y="1327684"/>
            <a:ext cx="3076110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938963" y="4144963"/>
            <a:ext cx="4375150" cy="889000"/>
          </a:xfrm>
        </p:spPr>
        <p:txBody>
          <a:bodyPr>
            <a:normAutofit/>
          </a:bodyPr>
          <a:lstStyle>
            <a:lvl1pPr marL="0" indent="0" algn="ctr">
              <a:buNone/>
              <a:defRPr sz="1800" b="1" spc="300" baseline="0">
                <a:solidFill>
                  <a:srgbClr val="00338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rgbClr val="00338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rgbClr val="00338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380859603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Slide - LC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43F5D7-900A-AC42-A63B-4FA78C0EA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8483" y="1327684"/>
            <a:ext cx="3076110" cy="2342971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</p:spTree>
    <p:extLst>
      <p:ext uri="{BB962C8B-B14F-4D97-AF65-F5344CB8AC3E}">
        <p14:creationId xmlns:p14="http://schemas.microsoft.com/office/powerpoint/2010/main" val="24264054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Campaign 100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00954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620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 - Solid">
            <a:extLst>
              <a:ext uri="{FF2B5EF4-FFF2-40B4-BE49-F238E27FC236}">
                <a16:creationId xmlns:a16="http://schemas.microsoft.com/office/drawing/2014/main" id="{FF15D0BC-4DD3-8F0C-91D3-9F43F98E7FA6}"/>
              </a:ext>
            </a:extLst>
          </p:cNvPr>
          <p:cNvSpPr/>
          <p:nvPr userDrawn="1"/>
        </p:nvSpPr>
        <p:spPr>
          <a:xfrm rot="10800000">
            <a:off x="0" y="0"/>
            <a:ext cx="12192000" cy="6858000"/>
          </a:xfrm>
          <a:prstGeom prst="rect">
            <a:avLst/>
          </a:pr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 dirty="0">
                <a:solidFill>
                  <a:schemeClr val="lt1">
                    <a:alpha val="44000"/>
                  </a:schemeClr>
                </a:solidFill>
              </a:rPr>
              <a:t>aa</a:t>
            </a:r>
          </a:p>
        </p:txBody>
      </p:sp>
      <p:sp>
        <p:nvSpPr>
          <p:cNvPr id="8" name="Slice - Solid">
            <a:extLst>
              <a:ext uri="{FF2B5EF4-FFF2-40B4-BE49-F238E27FC236}">
                <a16:creationId xmlns:a16="http://schemas.microsoft.com/office/drawing/2014/main" id="{048419A5-D689-FFED-7D77-A8CA9BBA0F23}"/>
              </a:ext>
            </a:extLst>
          </p:cNvPr>
          <p:cNvSpPr/>
          <p:nvPr userDrawn="1"/>
        </p:nvSpPr>
        <p:spPr>
          <a:xfrm rot="10800000">
            <a:off x="0" y="-8023"/>
            <a:ext cx="10950498" cy="6866021"/>
          </a:xfrm>
          <a:custGeom>
            <a:avLst/>
            <a:gdLst>
              <a:gd name="connsiteX0" fmla="*/ 1588447 w 11187128"/>
              <a:gd name="connsiteY0" fmla="*/ 0 h 6866021"/>
              <a:gd name="connsiteX1" fmla="*/ 5139450 w 11187128"/>
              <a:gd name="connsiteY1" fmla="*/ 4711 h 6866021"/>
              <a:gd name="connsiteX2" fmla="*/ 5140539 w 11187128"/>
              <a:gd name="connsiteY2" fmla="*/ 0 h 6866021"/>
              <a:gd name="connsiteX3" fmla="*/ 11187128 w 11187128"/>
              <a:gd name="connsiteY3" fmla="*/ 8021 h 6866021"/>
              <a:gd name="connsiteX4" fmla="*/ 11187128 w 11187128"/>
              <a:gd name="connsiteY4" fmla="*/ 6866021 h 6866021"/>
              <a:gd name="connsiteX5" fmla="*/ 7635036 w 11187128"/>
              <a:gd name="connsiteY5" fmla="*/ 6866021 h 6866021"/>
              <a:gd name="connsiteX6" fmla="*/ 3552092 w 11187128"/>
              <a:gd name="connsiteY6" fmla="*/ 6866021 h 6866021"/>
              <a:gd name="connsiteX7" fmla="*/ 0 w 11187128"/>
              <a:gd name="connsiteY7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87128" h="6866021">
                <a:moveTo>
                  <a:pt x="1588447" y="0"/>
                </a:moveTo>
                <a:lnTo>
                  <a:pt x="5139450" y="4711"/>
                </a:lnTo>
                <a:lnTo>
                  <a:pt x="5140539" y="0"/>
                </a:lnTo>
                <a:lnTo>
                  <a:pt x="11187128" y="8021"/>
                </a:lnTo>
                <a:lnTo>
                  <a:pt x="11187128" y="6866021"/>
                </a:lnTo>
                <a:lnTo>
                  <a:pt x="7635036" y="6866021"/>
                </a:lnTo>
                <a:lnTo>
                  <a:pt x="3552092" y="6866021"/>
                </a:lnTo>
                <a:lnTo>
                  <a:pt x="0" y="68660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6905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637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00359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7163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97828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527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Campaign 100 (Orange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30065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Red-Orange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3447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06148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4143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91829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640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044DD407-FAA6-55B7-A0FF-5C2F0A021676}"/>
              </a:ext>
            </a:extLst>
          </p:cNvPr>
          <p:cNvSpPr/>
          <p:nvPr userDrawn="1"/>
        </p:nvSpPr>
        <p:spPr>
          <a:xfrm>
            <a:off x="3274927" y="-8022"/>
            <a:ext cx="5642146" cy="6866021"/>
          </a:xfrm>
          <a:custGeom>
            <a:avLst/>
            <a:gdLst>
              <a:gd name="connsiteX0" fmla="*/ 1588447 w 5642146"/>
              <a:gd name="connsiteY0" fmla="*/ 0 h 6866021"/>
              <a:gd name="connsiteX1" fmla="*/ 5642146 w 5642146"/>
              <a:gd name="connsiteY1" fmla="*/ 5377 h 6866021"/>
              <a:gd name="connsiteX2" fmla="*/ 4054943 w 5642146"/>
              <a:gd name="connsiteY2" fmla="*/ 6866021 h 6866021"/>
              <a:gd name="connsiteX3" fmla="*/ 0 w 5642146"/>
              <a:gd name="connsiteY3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2146" h="6866021">
                <a:moveTo>
                  <a:pt x="1588447" y="0"/>
                </a:moveTo>
                <a:lnTo>
                  <a:pt x="5642146" y="5377"/>
                </a:lnTo>
                <a:lnTo>
                  <a:pt x="4054943" y="6866021"/>
                </a:lnTo>
                <a:lnTo>
                  <a:pt x="0" y="6866021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9835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477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2426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83687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4146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0307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32307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81911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Side Circle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151" y="2805403"/>
            <a:ext cx="3740734" cy="1247195"/>
          </a:xfrm>
          <a:noFill/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2214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Side Circle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151" y="2805403"/>
            <a:ext cx="3740734" cy="1247195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27005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- Side Circle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151" y="2805403"/>
            <a:ext cx="3740734" cy="1247195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43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7A83E1B-CD1D-6C88-BFCB-C60F7F0CA341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Background - Solid">
              <a:extLst>
                <a:ext uri="{FF2B5EF4-FFF2-40B4-BE49-F238E27FC236}">
                  <a16:creationId xmlns:a16="http://schemas.microsoft.com/office/drawing/2014/main" id="{B4440424-12E7-D97F-CFF8-0C0386769534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endParaRPr lang="en-US" dirty="0">
                <a:solidFill>
                  <a:srgbClr val="0D2240">
                    <a:alpha val="44000"/>
                  </a:srgbClr>
                </a:solidFill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22C9D25-9EEB-411D-72E3-90C4194444B5}"/>
                </a:ext>
              </a:extLst>
            </p:cNvPr>
            <p:cNvSpPr/>
            <p:nvPr/>
          </p:nvSpPr>
          <p:spPr>
            <a:xfrm rot="16200000" flipV="1">
              <a:off x="-105115" y="105115"/>
              <a:ext cx="6858000" cy="6647770"/>
            </a:xfrm>
            <a:custGeom>
              <a:avLst/>
              <a:gdLst>
                <a:gd name="connsiteX0" fmla="*/ 0 w 6858000"/>
                <a:gd name="connsiteY0" fmla="*/ 922089 h 6647770"/>
                <a:gd name="connsiteX1" fmla="*/ 0 w 6858000"/>
                <a:gd name="connsiteY1" fmla="*/ 2959412 h 6647770"/>
                <a:gd name="connsiteX2" fmla="*/ 0 w 6858000"/>
                <a:gd name="connsiteY2" fmla="*/ 4610448 h 6647770"/>
                <a:gd name="connsiteX3" fmla="*/ 0 w 6858000"/>
                <a:gd name="connsiteY3" fmla="*/ 6647770 h 6647770"/>
                <a:gd name="connsiteX4" fmla="*/ 6858000 w 6858000"/>
                <a:gd name="connsiteY4" fmla="*/ 6647770 h 6647770"/>
                <a:gd name="connsiteX5" fmla="*/ 6858000 w 6858000"/>
                <a:gd name="connsiteY5" fmla="*/ 4610448 h 6647770"/>
                <a:gd name="connsiteX6" fmla="*/ 6858000 w 6858000"/>
                <a:gd name="connsiteY6" fmla="*/ 2037322 h 6647770"/>
                <a:gd name="connsiteX7" fmla="*/ 6858000 w 6858000"/>
                <a:gd name="connsiteY7" fmla="*/ 0 h 664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6647770">
                  <a:moveTo>
                    <a:pt x="0" y="922089"/>
                  </a:moveTo>
                  <a:lnTo>
                    <a:pt x="0" y="2959412"/>
                  </a:lnTo>
                  <a:lnTo>
                    <a:pt x="0" y="4610448"/>
                  </a:lnTo>
                  <a:lnTo>
                    <a:pt x="0" y="6647770"/>
                  </a:lnTo>
                  <a:lnTo>
                    <a:pt x="6858000" y="6647770"/>
                  </a:lnTo>
                  <a:lnTo>
                    <a:pt x="6858000" y="4610448"/>
                  </a:lnTo>
                  <a:lnTo>
                    <a:pt x="6858000" y="2037322"/>
                  </a:lnTo>
                  <a:lnTo>
                    <a:pt x="685800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23D93AD-AFAF-1FB6-46B2-01C24332518D}"/>
                </a:ext>
              </a:extLst>
            </p:cNvPr>
            <p:cNvGrpSpPr/>
            <p:nvPr/>
          </p:nvGrpSpPr>
          <p:grpSpPr>
            <a:xfrm>
              <a:off x="4955038" y="0"/>
              <a:ext cx="1677492" cy="6858000"/>
              <a:chOff x="4955038" y="0"/>
              <a:chExt cx="1677492" cy="6858000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BD1EF664-F240-F597-F784-FEA0E449BB93}"/>
                  </a:ext>
                </a:extLst>
              </p:cNvPr>
              <p:cNvSpPr/>
              <p:nvPr/>
            </p:nvSpPr>
            <p:spPr>
              <a:xfrm>
                <a:off x="4955038" y="0"/>
                <a:ext cx="1360969" cy="6858000"/>
              </a:xfrm>
              <a:custGeom>
                <a:avLst/>
                <a:gdLst>
                  <a:gd name="connsiteX0" fmla="*/ 903769 w 1360969"/>
                  <a:gd name="connsiteY0" fmla="*/ 0 h 6858000"/>
                  <a:gd name="connsiteX1" fmla="*/ 1360969 w 1360969"/>
                  <a:gd name="connsiteY1" fmla="*/ 0 h 6858000"/>
                  <a:gd name="connsiteX2" fmla="*/ 457200 w 1360969"/>
                  <a:gd name="connsiteY2" fmla="*/ 6858000 h 6858000"/>
                  <a:gd name="connsiteX3" fmla="*/ 0 w 1360969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0969" h="6858000">
                    <a:moveTo>
                      <a:pt x="903769" y="0"/>
                    </a:moveTo>
                    <a:lnTo>
                      <a:pt x="1360969" y="0"/>
                    </a:lnTo>
                    <a:lnTo>
                      <a:pt x="457200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rgbClr val="0D2240">
                  <a:alpha val="4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4685" tIns="47343" rIns="94685" bIns="47343" rtlCol="0" anchor="ctr">
                <a:noAutofit/>
              </a:bodyPr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66774CC9-542D-F645-A1B9-0BE2E4B68180}"/>
                  </a:ext>
                </a:extLst>
              </p:cNvPr>
              <p:cNvSpPr/>
              <p:nvPr/>
            </p:nvSpPr>
            <p:spPr>
              <a:xfrm>
                <a:off x="5271561" y="0"/>
                <a:ext cx="1360969" cy="6858000"/>
              </a:xfrm>
              <a:custGeom>
                <a:avLst/>
                <a:gdLst>
                  <a:gd name="connsiteX0" fmla="*/ 903769 w 1360969"/>
                  <a:gd name="connsiteY0" fmla="*/ 0 h 6858000"/>
                  <a:gd name="connsiteX1" fmla="*/ 1360969 w 1360969"/>
                  <a:gd name="connsiteY1" fmla="*/ 0 h 6858000"/>
                  <a:gd name="connsiteX2" fmla="*/ 457200 w 1360969"/>
                  <a:gd name="connsiteY2" fmla="*/ 6858000 h 6858000"/>
                  <a:gd name="connsiteX3" fmla="*/ 0 w 1360969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0969" h="6858000">
                    <a:moveTo>
                      <a:pt x="903769" y="0"/>
                    </a:moveTo>
                    <a:lnTo>
                      <a:pt x="1360969" y="0"/>
                    </a:lnTo>
                    <a:lnTo>
                      <a:pt x="457200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rgbClr val="0D2240">
                  <a:alpha val="4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4685" tIns="47343" rIns="94685" bIns="47343" rtlCol="0" anchor="ctr">
                <a:noAutofit/>
              </a:bodyPr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</p:grpSp>
      </p:grp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90755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28655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op Bar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02829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op Bar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51881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Map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C449D-517E-7341-A77E-201DF9818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1800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F5AEE6-DC3F-5349-8290-E320FA6B14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18DF74A-BC56-9A48-A87A-86FD4ECEA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33160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15934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39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9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1" name="Picture 30" descr="A picture containing glass&#10;&#10;Description automatically generated">
            <a:extLst>
              <a:ext uri="{FF2B5EF4-FFF2-40B4-BE49-F238E27FC236}">
                <a16:creationId xmlns:a16="http://schemas.microsoft.com/office/drawing/2014/main" id="{C77B798E-B00B-BE4F-B652-3DEDF49E7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410" y="5841999"/>
            <a:ext cx="2208808" cy="644972"/>
          </a:xfrm>
          <a:prstGeom prst="rect">
            <a:avLst/>
          </a:prstGeom>
        </p:spPr>
      </p:pic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A7750DF2-3393-5544-8CED-BA62DB2BCA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088" y="5938711"/>
            <a:ext cx="2810790" cy="45154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4476AB-9595-3945-82FD-3FFD7BA4E6E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759968" y="6164485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13399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3CD42D-FF1A-0C47-8231-7E899959E7A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ABA9C3-B604-9240-A0AD-A85DB7C7F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3" name="Picture 12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C30ABBF-2E74-FC4C-B25D-B2CE07E7D2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5AFF672-4880-0248-871D-56B0BED9A01F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9">
            <a:extLst>
              <a:ext uri="{FF2B5EF4-FFF2-40B4-BE49-F238E27FC236}">
                <a16:creationId xmlns:a16="http://schemas.microsoft.com/office/drawing/2014/main" id="{0F46DA33-1B5C-0B4A-A918-EB6397868ADB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4C3AC-72BD-E543-B9D2-0ECB6D607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8E4F99F-BC94-DA4B-940F-63D0F0D9F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1834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60E41FF-E248-1EA4-A943-0BC35D873C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36D0290-D344-59A7-3676-4BD06B9956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0E86D0F-5AC8-EAB7-4A47-FF7934D306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9" y="5613399"/>
            <a:ext cx="3036959" cy="8867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A45F9E-C4AF-EFE3-4260-8FB402B1D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F42C7ED-03DB-B4BE-2EB5-A9BF582C85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3632200"/>
            <a:ext cx="6360160" cy="7461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2079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3396DB-1F56-6D4A-BCDC-A5F1B4E3E7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74E8E-73DC-B94C-AC22-082FD083696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A7F0D7D1-1430-0D43-B6B9-B46069553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1165531-C215-804F-AE12-55E8E3E82EFF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45DA1B5-E441-0844-B645-78621A90868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4E11239-27D7-A349-9313-6F72C8353D7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FFB1BE5A-FAB0-9A45-A856-0089E4ECC20C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B15404F-B2E8-0C49-ADDD-0D23A833D5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906057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A54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7879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lte Slide - Cama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88696" y="4133613"/>
            <a:ext cx="5075683" cy="889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188AC8-FAC3-1147-B29D-05BA49105C15}"/>
              </a:ext>
            </a:extLst>
          </p:cNvPr>
          <p:cNvCxnSpPr/>
          <p:nvPr userDrawn="1"/>
        </p:nvCxnSpPr>
        <p:spPr>
          <a:xfrm>
            <a:off x="8773248" y="5228283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8213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532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65825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754570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2FFF44-DBF6-4F9F-9F70-A48E8AF8336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30213" y="1146175"/>
            <a:ext cx="11337925" cy="4859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5901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4081" y="1327684"/>
            <a:ext cx="3724915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3"/>
            <a:ext cx="4375150" cy="117194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18" y="417404"/>
            <a:ext cx="1966916" cy="57434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C40AB8-98C1-0C42-B5FD-48529EB36ABB}"/>
              </a:ext>
            </a:extLst>
          </p:cNvPr>
          <p:cNvCxnSpPr/>
          <p:nvPr userDrawn="1"/>
        </p:nvCxnSpPr>
        <p:spPr>
          <a:xfrm>
            <a:off x="8773248" y="5290049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71549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lte Slide - Cama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88696" y="4133613"/>
            <a:ext cx="5075683" cy="889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188AC8-FAC3-1147-B29D-05BA49105C15}"/>
              </a:ext>
            </a:extLst>
          </p:cNvPr>
          <p:cNvCxnSpPr/>
          <p:nvPr userDrawn="1"/>
        </p:nvCxnSpPr>
        <p:spPr>
          <a:xfrm>
            <a:off x="8773248" y="5228283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08664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3"/>
            <a:ext cx="4375150" cy="117194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C40AB8-98C1-0C42-B5FD-48529EB36ABB}"/>
              </a:ext>
            </a:extLst>
          </p:cNvPr>
          <p:cNvCxnSpPr/>
          <p:nvPr userDrawn="1"/>
        </p:nvCxnSpPr>
        <p:spPr>
          <a:xfrm>
            <a:off x="8773248" y="5290049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0492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ght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50259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Purpl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33082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Green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335256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Orang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9011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B2C74E7-5A3E-AFCA-DCD1-F30C658B7D2D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44845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on Yellow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613671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Campaign 100 (Lion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19459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Dark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9782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12611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36214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6095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00025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2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279132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02549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197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F138AD2-EFC0-BE54-E28E-3B61CECDF92B}"/>
              </a:ext>
            </a:extLst>
          </p:cNvPr>
          <p:cNvGrpSpPr/>
          <p:nvPr userDrawn="1"/>
        </p:nvGrpSpPr>
        <p:grpSpPr>
          <a:xfrm>
            <a:off x="-165759" y="-8021"/>
            <a:ext cx="12357759" cy="6866021"/>
            <a:chOff x="-165759" y="-8021"/>
            <a:chExt cx="12357759" cy="6866021"/>
          </a:xfrm>
        </p:grpSpPr>
        <p:sp>
          <p:nvSpPr>
            <p:cNvPr id="7" name="Background - Solid">
              <a:extLst>
                <a:ext uri="{FF2B5EF4-FFF2-40B4-BE49-F238E27FC236}">
                  <a16:creationId xmlns:a16="http://schemas.microsoft.com/office/drawing/2014/main" id="{168D6320-8B75-EBD5-3113-8195718AED00}"/>
                </a:ext>
              </a:extLst>
            </p:cNvPr>
            <p:cNvSpPr/>
            <p:nvPr userDrawn="1"/>
          </p:nvSpPr>
          <p:spPr>
            <a:xfrm rot="10800000"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lt1">
                      <a:alpha val="44000"/>
                    </a:schemeClr>
                  </a:solidFill>
                </a:rPr>
                <a:t>aa</a:t>
              </a:r>
            </a:p>
          </p:txBody>
        </p:sp>
        <p:sp>
          <p:nvSpPr>
            <p:cNvPr id="8" name="Slice - Solid">
              <a:extLst>
                <a:ext uri="{FF2B5EF4-FFF2-40B4-BE49-F238E27FC236}">
                  <a16:creationId xmlns:a16="http://schemas.microsoft.com/office/drawing/2014/main" id="{585D9042-D4FA-CA8B-F235-4C1A902C1A7F}"/>
                </a:ext>
              </a:extLst>
            </p:cNvPr>
            <p:cNvSpPr/>
            <p:nvPr userDrawn="1"/>
          </p:nvSpPr>
          <p:spPr>
            <a:xfrm rot="10800000">
              <a:off x="-165759" y="-8021"/>
              <a:ext cx="11187128" cy="6866021"/>
            </a:xfrm>
            <a:custGeom>
              <a:avLst/>
              <a:gdLst>
                <a:gd name="connsiteX0" fmla="*/ 1588447 w 11187128"/>
                <a:gd name="connsiteY0" fmla="*/ 0 h 6866021"/>
                <a:gd name="connsiteX1" fmla="*/ 5139450 w 11187128"/>
                <a:gd name="connsiteY1" fmla="*/ 4711 h 6866021"/>
                <a:gd name="connsiteX2" fmla="*/ 5140539 w 11187128"/>
                <a:gd name="connsiteY2" fmla="*/ 0 h 6866021"/>
                <a:gd name="connsiteX3" fmla="*/ 11187128 w 11187128"/>
                <a:gd name="connsiteY3" fmla="*/ 8021 h 6866021"/>
                <a:gd name="connsiteX4" fmla="*/ 11187128 w 11187128"/>
                <a:gd name="connsiteY4" fmla="*/ 6866021 h 6866021"/>
                <a:gd name="connsiteX5" fmla="*/ 7635036 w 11187128"/>
                <a:gd name="connsiteY5" fmla="*/ 6866021 h 6866021"/>
                <a:gd name="connsiteX6" fmla="*/ 3552092 w 11187128"/>
                <a:gd name="connsiteY6" fmla="*/ 6866021 h 6866021"/>
                <a:gd name="connsiteX7" fmla="*/ 0 w 11187128"/>
                <a:gd name="connsiteY7" fmla="*/ 6866021 h 686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87128" h="6866021">
                  <a:moveTo>
                    <a:pt x="1588447" y="0"/>
                  </a:moveTo>
                  <a:lnTo>
                    <a:pt x="5139450" y="4711"/>
                  </a:lnTo>
                  <a:lnTo>
                    <a:pt x="5140539" y="0"/>
                  </a:lnTo>
                  <a:lnTo>
                    <a:pt x="11187128" y="8021"/>
                  </a:lnTo>
                  <a:lnTo>
                    <a:pt x="11187128" y="6866021"/>
                  </a:lnTo>
                  <a:lnTo>
                    <a:pt x="7635036" y="6866021"/>
                  </a:lnTo>
                  <a:lnTo>
                    <a:pt x="3552092" y="6866021"/>
                  </a:lnTo>
                  <a:lnTo>
                    <a:pt x="0" y="6866021"/>
                  </a:lnTo>
                  <a:close/>
                </a:path>
              </a:pathLst>
            </a:cu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6240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49125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58498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57096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8847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17583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Side Circle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67414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Side Circle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69656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Side Circle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51530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0891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375921"/>
            <a:ext cx="11337925" cy="603503"/>
          </a:xfrm>
        </p:spPr>
        <p:txBody>
          <a:bodyPr/>
          <a:lstStyle>
            <a:lvl1pPr>
              <a:defRPr sz="2000" cap="none" spc="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24887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E128937-A975-D8FD-7664-B71F4AA72669}"/>
              </a:ext>
            </a:extLst>
          </p:cNvPr>
          <p:cNvGrpSpPr/>
          <p:nvPr userDrawn="1"/>
        </p:nvGrpSpPr>
        <p:grpSpPr>
          <a:xfrm>
            <a:off x="0" y="-8022"/>
            <a:ext cx="12192000" cy="6866022"/>
            <a:chOff x="0" y="-8022"/>
            <a:chExt cx="12192000" cy="6866022"/>
          </a:xfrm>
        </p:grpSpPr>
        <p:sp>
          <p:nvSpPr>
            <p:cNvPr id="8" name="Background - Solid">
              <a:extLst>
                <a:ext uri="{FF2B5EF4-FFF2-40B4-BE49-F238E27FC236}">
                  <a16:creationId xmlns:a16="http://schemas.microsoft.com/office/drawing/2014/main" id="{CF15B74C-0297-D31C-0C16-DF4A9001EF2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bg1">
                      <a:alpha val="44000"/>
                    </a:schemeClr>
                  </a:solidFill>
                </a:rPr>
                <a:t>aa</a:t>
              </a:r>
            </a:p>
          </p:txBody>
        </p:sp>
        <p:sp>
          <p:nvSpPr>
            <p:cNvPr id="9" name="Background - Solid">
              <a:extLst>
                <a:ext uri="{FF2B5EF4-FFF2-40B4-BE49-F238E27FC236}">
                  <a16:creationId xmlns:a16="http://schemas.microsoft.com/office/drawing/2014/main" id="{939BDFE8-86BC-5C3F-37C0-8EE684C2D623}"/>
                </a:ext>
              </a:extLst>
            </p:cNvPr>
            <p:cNvSpPr/>
            <p:nvPr/>
          </p:nvSpPr>
          <p:spPr>
            <a:xfrm>
              <a:off x="4556963" y="-8022"/>
              <a:ext cx="7635036" cy="6866021"/>
            </a:xfrm>
            <a:custGeom>
              <a:avLst/>
              <a:gdLst>
                <a:gd name="connsiteX0" fmla="*/ 0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0 w 6978316"/>
                <a:gd name="connsiteY4" fmla="*/ 0 h 6858000"/>
                <a:gd name="connsiteX0" fmla="*/ 3649579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3649579 w 6978316"/>
                <a:gd name="connsiteY4" fmla="*/ 0 h 6858000"/>
                <a:gd name="connsiteX0" fmla="*/ 505326 w 6978316"/>
                <a:gd name="connsiteY0" fmla="*/ 0 h 6866021"/>
                <a:gd name="connsiteX1" fmla="*/ 6978316 w 6978316"/>
                <a:gd name="connsiteY1" fmla="*/ 8021 h 6866021"/>
                <a:gd name="connsiteX2" fmla="*/ 6978316 w 6978316"/>
                <a:gd name="connsiteY2" fmla="*/ 6866021 h 6866021"/>
                <a:gd name="connsiteX3" fmla="*/ 0 w 6978316"/>
                <a:gd name="connsiteY3" fmla="*/ 6866021 h 6866021"/>
                <a:gd name="connsiteX4" fmla="*/ 505326 w 6978316"/>
                <a:gd name="connsiteY4" fmla="*/ 0 h 6866021"/>
                <a:gd name="connsiteX0" fmla="*/ 1700463 w 8173453"/>
                <a:gd name="connsiteY0" fmla="*/ 0 h 6866021"/>
                <a:gd name="connsiteX1" fmla="*/ 8173453 w 8173453"/>
                <a:gd name="connsiteY1" fmla="*/ 8021 h 6866021"/>
                <a:gd name="connsiteX2" fmla="*/ 8173453 w 8173453"/>
                <a:gd name="connsiteY2" fmla="*/ 6866021 h 6866021"/>
                <a:gd name="connsiteX3" fmla="*/ 0 w 8173453"/>
                <a:gd name="connsiteY3" fmla="*/ 6866021 h 6866021"/>
                <a:gd name="connsiteX4" fmla="*/ 1700463 w 8173453"/>
                <a:gd name="connsiteY4" fmla="*/ 0 h 686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3453" h="6866021">
                  <a:moveTo>
                    <a:pt x="1700463" y="0"/>
                  </a:moveTo>
                  <a:lnTo>
                    <a:pt x="8173453" y="8021"/>
                  </a:lnTo>
                  <a:lnTo>
                    <a:pt x="8173453" y="6866021"/>
                  </a:lnTo>
                  <a:lnTo>
                    <a:pt x="0" y="6866021"/>
                  </a:lnTo>
                  <a:lnTo>
                    <a:pt x="170046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lt1">
                      <a:alpha val="44000"/>
                    </a:schemeClr>
                  </a:solidFill>
                </a:rPr>
                <a:t>A,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03599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375921"/>
            <a:ext cx="11337925" cy="603503"/>
          </a:xfrm>
        </p:spPr>
        <p:txBody>
          <a:bodyPr/>
          <a:lstStyle>
            <a:lvl1pPr>
              <a:defRPr sz="2000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10962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2FFF44-DBF6-4F9F-9F70-A48E8AF8336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30213" y="1146175"/>
            <a:ext cx="11337925" cy="4859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839880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43F5D7-900A-AC42-A63B-4FA78C0EA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4081" y="1327684"/>
            <a:ext cx="3724915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18" y="417404"/>
            <a:ext cx="1966916" cy="574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123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C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43F5D7-900A-AC42-A63B-4FA78C0EA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8483" y="1327684"/>
            <a:ext cx="3076110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938963" y="4144963"/>
            <a:ext cx="4375150" cy="889000"/>
          </a:xfrm>
        </p:spPr>
        <p:txBody>
          <a:bodyPr>
            <a:normAutofit/>
          </a:bodyPr>
          <a:lstStyle>
            <a:lvl1pPr marL="0" indent="0" algn="ctr">
              <a:buNone/>
              <a:defRPr sz="1800" b="1" spc="300" baseline="0">
                <a:solidFill>
                  <a:srgbClr val="00338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rgbClr val="00338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rgbClr val="00338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128391849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Slide - LC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43F5D7-900A-AC42-A63B-4FA78C0EA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8483" y="1327684"/>
            <a:ext cx="3076110" cy="2342971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</p:spTree>
    <p:extLst>
      <p:ext uri="{BB962C8B-B14F-4D97-AF65-F5344CB8AC3E}">
        <p14:creationId xmlns:p14="http://schemas.microsoft.com/office/powerpoint/2010/main" val="425783300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Campaign 100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039755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04003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52199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238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5978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E128937-A975-D8FD-7664-B71F4AA72669}"/>
              </a:ext>
            </a:extLst>
          </p:cNvPr>
          <p:cNvGrpSpPr/>
          <p:nvPr userDrawn="1"/>
        </p:nvGrpSpPr>
        <p:grpSpPr>
          <a:xfrm>
            <a:off x="0" y="-8022"/>
            <a:ext cx="12192000" cy="6866022"/>
            <a:chOff x="0" y="-8022"/>
            <a:chExt cx="12192000" cy="6866022"/>
          </a:xfrm>
        </p:grpSpPr>
        <p:sp>
          <p:nvSpPr>
            <p:cNvPr id="8" name="Background - Solid">
              <a:extLst>
                <a:ext uri="{FF2B5EF4-FFF2-40B4-BE49-F238E27FC236}">
                  <a16:creationId xmlns:a16="http://schemas.microsoft.com/office/drawing/2014/main" id="{CF15B74C-0297-D31C-0C16-DF4A9001EF2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bg1">
                      <a:alpha val="44000"/>
                    </a:schemeClr>
                  </a:solidFill>
                </a:rPr>
                <a:t>aa</a:t>
              </a:r>
            </a:p>
          </p:txBody>
        </p:sp>
        <p:sp>
          <p:nvSpPr>
            <p:cNvPr id="9" name="Background - Solid">
              <a:extLst>
                <a:ext uri="{FF2B5EF4-FFF2-40B4-BE49-F238E27FC236}">
                  <a16:creationId xmlns:a16="http://schemas.microsoft.com/office/drawing/2014/main" id="{939BDFE8-86BC-5C3F-37C0-8EE684C2D623}"/>
                </a:ext>
              </a:extLst>
            </p:cNvPr>
            <p:cNvSpPr/>
            <p:nvPr/>
          </p:nvSpPr>
          <p:spPr>
            <a:xfrm>
              <a:off x="4556963" y="-8022"/>
              <a:ext cx="7635036" cy="6866021"/>
            </a:xfrm>
            <a:custGeom>
              <a:avLst/>
              <a:gdLst>
                <a:gd name="connsiteX0" fmla="*/ 0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0 w 6978316"/>
                <a:gd name="connsiteY4" fmla="*/ 0 h 6858000"/>
                <a:gd name="connsiteX0" fmla="*/ 3649579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3649579 w 6978316"/>
                <a:gd name="connsiteY4" fmla="*/ 0 h 6858000"/>
                <a:gd name="connsiteX0" fmla="*/ 505326 w 6978316"/>
                <a:gd name="connsiteY0" fmla="*/ 0 h 6866021"/>
                <a:gd name="connsiteX1" fmla="*/ 6978316 w 6978316"/>
                <a:gd name="connsiteY1" fmla="*/ 8021 h 6866021"/>
                <a:gd name="connsiteX2" fmla="*/ 6978316 w 6978316"/>
                <a:gd name="connsiteY2" fmla="*/ 6866021 h 6866021"/>
                <a:gd name="connsiteX3" fmla="*/ 0 w 6978316"/>
                <a:gd name="connsiteY3" fmla="*/ 6866021 h 6866021"/>
                <a:gd name="connsiteX4" fmla="*/ 505326 w 6978316"/>
                <a:gd name="connsiteY4" fmla="*/ 0 h 6866021"/>
                <a:gd name="connsiteX0" fmla="*/ 1700463 w 8173453"/>
                <a:gd name="connsiteY0" fmla="*/ 0 h 6866021"/>
                <a:gd name="connsiteX1" fmla="*/ 8173453 w 8173453"/>
                <a:gd name="connsiteY1" fmla="*/ 8021 h 6866021"/>
                <a:gd name="connsiteX2" fmla="*/ 8173453 w 8173453"/>
                <a:gd name="connsiteY2" fmla="*/ 6866021 h 6866021"/>
                <a:gd name="connsiteX3" fmla="*/ 0 w 8173453"/>
                <a:gd name="connsiteY3" fmla="*/ 6866021 h 6866021"/>
                <a:gd name="connsiteX4" fmla="*/ 1700463 w 8173453"/>
                <a:gd name="connsiteY4" fmla="*/ 0 h 686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3453" h="6866021">
                  <a:moveTo>
                    <a:pt x="1700463" y="0"/>
                  </a:moveTo>
                  <a:lnTo>
                    <a:pt x="8173453" y="8021"/>
                  </a:lnTo>
                  <a:lnTo>
                    <a:pt x="8173453" y="6866021"/>
                  </a:lnTo>
                  <a:lnTo>
                    <a:pt x="0" y="6866021"/>
                  </a:lnTo>
                  <a:lnTo>
                    <a:pt x="170046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lt1">
                      <a:alpha val="44000"/>
                    </a:schemeClr>
                  </a:solidFill>
                </a:rPr>
                <a:t>A,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42CC58A6-5F92-59CD-4A41-EC1E5CFF5758}"/>
              </a:ext>
            </a:extLst>
          </p:cNvPr>
          <p:cNvSpPr/>
          <p:nvPr userDrawn="1"/>
        </p:nvSpPr>
        <p:spPr>
          <a:xfrm rot="16200000" flipV="1">
            <a:off x="-105115" y="105115"/>
            <a:ext cx="6858000" cy="6647770"/>
          </a:xfrm>
          <a:custGeom>
            <a:avLst/>
            <a:gdLst>
              <a:gd name="connsiteX0" fmla="*/ 0 w 6858000"/>
              <a:gd name="connsiteY0" fmla="*/ 922089 h 6647770"/>
              <a:gd name="connsiteX1" fmla="*/ 0 w 6858000"/>
              <a:gd name="connsiteY1" fmla="*/ 2959412 h 6647770"/>
              <a:gd name="connsiteX2" fmla="*/ 0 w 6858000"/>
              <a:gd name="connsiteY2" fmla="*/ 4610448 h 6647770"/>
              <a:gd name="connsiteX3" fmla="*/ 0 w 6858000"/>
              <a:gd name="connsiteY3" fmla="*/ 6647770 h 6647770"/>
              <a:gd name="connsiteX4" fmla="*/ 6858000 w 6858000"/>
              <a:gd name="connsiteY4" fmla="*/ 6647770 h 6647770"/>
              <a:gd name="connsiteX5" fmla="*/ 6858000 w 6858000"/>
              <a:gd name="connsiteY5" fmla="*/ 4610448 h 6647770"/>
              <a:gd name="connsiteX6" fmla="*/ 6858000 w 6858000"/>
              <a:gd name="connsiteY6" fmla="*/ 2037322 h 6647770"/>
              <a:gd name="connsiteX7" fmla="*/ 6858000 w 6858000"/>
              <a:gd name="connsiteY7" fmla="*/ 0 h 664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6647770">
                <a:moveTo>
                  <a:pt x="0" y="922089"/>
                </a:moveTo>
                <a:lnTo>
                  <a:pt x="0" y="2959412"/>
                </a:lnTo>
                <a:lnTo>
                  <a:pt x="0" y="4610448"/>
                </a:lnTo>
                <a:lnTo>
                  <a:pt x="0" y="6647770"/>
                </a:lnTo>
                <a:lnTo>
                  <a:pt x="6858000" y="6647770"/>
                </a:lnTo>
                <a:lnTo>
                  <a:pt x="6858000" y="4610448"/>
                </a:lnTo>
                <a:lnTo>
                  <a:pt x="6858000" y="2037322"/>
                </a:lnTo>
                <a:lnTo>
                  <a:pt x="6858000" y="0"/>
                </a:lnTo>
                <a:close/>
              </a:path>
            </a:pathLst>
          </a:cu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A41A12-ADBE-1BF1-2D37-B1E6CCA9FFE3}"/>
              </a:ext>
            </a:extLst>
          </p:cNvPr>
          <p:cNvGrpSpPr/>
          <p:nvPr userDrawn="1"/>
        </p:nvGrpSpPr>
        <p:grpSpPr>
          <a:xfrm>
            <a:off x="4955038" y="0"/>
            <a:ext cx="1677492" cy="6858000"/>
            <a:chOff x="3697870" y="0"/>
            <a:chExt cx="1677492" cy="68580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A192462-0168-F4E9-A5A5-90C5309E4D5B}"/>
                </a:ext>
              </a:extLst>
            </p:cNvPr>
            <p:cNvSpPr/>
            <p:nvPr/>
          </p:nvSpPr>
          <p:spPr>
            <a:xfrm>
              <a:off x="3697870" y="0"/>
              <a:ext cx="1360969" cy="6858000"/>
            </a:xfrm>
            <a:custGeom>
              <a:avLst/>
              <a:gdLst>
                <a:gd name="connsiteX0" fmla="*/ 903769 w 1360969"/>
                <a:gd name="connsiteY0" fmla="*/ 0 h 6858000"/>
                <a:gd name="connsiteX1" fmla="*/ 1360969 w 1360969"/>
                <a:gd name="connsiteY1" fmla="*/ 0 h 6858000"/>
                <a:gd name="connsiteX2" fmla="*/ 457200 w 1360969"/>
                <a:gd name="connsiteY2" fmla="*/ 6858000 h 6858000"/>
                <a:gd name="connsiteX3" fmla="*/ 0 w 1360969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0969" h="6858000">
                  <a:moveTo>
                    <a:pt x="903769" y="0"/>
                  </a:moveTo>
                  <a:lnTo>
                    <a:pt x="1360969" y="0"/>
                  </a:lnTo>
                  <a:lnTo>
                    <a:pt x="457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5211459F-DC91-A240-289F-9B885AAF5CD6}"/>
                </a:ext>
              </a:extLst>
            </p:cNvPr>
            <p:cNvSpPr/>
            <p:nvPr/>
          </p:nvSpPr>
          <p:spPr>
            <a:xfrm>
              <a:off x="4014393" y="0"/>
              <a:ext cx="1360969" cy="6858000"/>
            </a:xfrm>
            <a:custGeom>
              <a:avLst/>
              <a:gdLst>
                <a:gd name="connsiteX0" fmla="*/ 903769 w 1360969"/>
                <a:gd name="connsiteY0" fmla="*/ 0 h 6858000"/>
                <a:gd name="connsiteX1" fmla="*/ 1360969 w 1360969"/>
                <a:gd name="connsiteY1" fmla="*/ 0 h 6858000"/>
                <a:gd name="connsiteX2" fmla="*/ 457200 w 1360969"/>
                <a:gd name="connsiteY2" fmla="*/ 6858000 h 6858000"/>
                <a:gd name="connsiteX3" fmla="*/ 0 w 1360969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0969" h="6858000">
                  <a:moveTo>
                    <a:pt x="903769" y="0"/>
                  </a:moveTo>
                  <a:lnTo>
                    <a:pt x="1360969" y="0"/>
                  </a:lnTo>
                  <a:lnTo>
                    <a:pt x="457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463059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43951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Campaign 100 (Orange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95398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Red-Orange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6234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8515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33332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27221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75429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LCIF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t="16752" r="6691" b="14440"/>
          <a:stretch/>
        </p:blipFill>
        <p:spPr>
          <a:xfrm>
            <a:off x="1124712" y="4885897"/>
            <a:ext cx="1891443" cy="151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89351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341551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0606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>
            <a:extLst>
              <a:ext uri="{FF2B5EF4-FFF2-40B4-BE49-F238E27FC236}">
                <a16:creationId xmlns:a16="http://schemas.microsoft.com/office/drawing/2014/main" id="{43B06EB3-25D1-F725-9205-EF747398575A}"/>
              </a:ext>
            </a:extLst>
          </p:cNvPr>
          <p:cNvSpPr/>
          <p:nvPr userDrawn="1"/>
        </p:nvSpPr>
        <p:spPr>
          <a:xfrm rot="10800000" flipV="1">
            <a:off x="0" y="3451034"/>
            <a:ext cx="12192000" cy="3428999"/>
          </a:xfrm>
          <a:custGeom>
            <a:avLst/>
            <a:gdLst>
              <a:gd name="connsiteX0" fmla="*/ 6858000 w 6858000"/>
              <a:gd name="connsiteY0" fmla="*/ 1978237 h 1978237"/>
              <a:gd name="connsiteX1" fmla="*/ 6858000 w 6858000"/>
              <a:gd name="connsiteY1" fmla="*/ 0 h 1978237"/>
              <a:gd name="connsiteX2" fmla="*/ 0 w 6858000"/>
              <a:gd name="connsiteY2" fmla="*/ 922089 h 1978237"/>
              <a:gd name="connsiteX3" fmla="*/ 0 w 6858000"/>
              <a:gd name="connsiteY3" fmla="*/ 1978237 h 1978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978237">
                <a:moveTo>
                  <a:pt x="6858000" y="1978237"/>
                </a:moveTo>
                <a:lnTo>
                  <a:pt x="6858000" y="0"/>
                </a:lnTo>
                <a:lnTo>
                  <a:pt x="0" y="922089"/>
                </a:lnTo>
                <a:lnTo>
                  <a:pt x="0" y="1978237"/>
                </a:lnTo>
                <a:close/>
              </a:path>
            </a:pathLst>
          </a:cu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15428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9311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73026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81829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00784"/>
            <a:ext cx="3157538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53000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Side Circle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151" y="2805403"/>
            <a:ext cx="3740734" cy="1247195"/>
          </a:xfrm>
          <a:noFill/>
        </p:spPr>
        <p:txBody>
          <a:bodyPr/>
          <a:lstStyle>
            <a:lvl1pPr algn="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308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Side Circle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151" y="2805403"/>
            <a:ext cx="3740734" cy="1247195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87927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- Side Circle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151" y="2805403"/>
            <a:ext cx="3740734" cy="1247195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03099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34897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op Bar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38003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op Bar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1770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112112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8B09E638-0A33-BD8D-EF9D-131CE48AEBEC}"/>
              </a:ext>
            </a:extLst>
          </p:cNvPr>
          <p:cNvGrpSpPr/>
          <p:nvPr userDrawn="1"/>
        </p:nvGrpSpPr>
        <p:grpSpPr>
          <a:xfrm>
            <a:off x="0" y="-8022"/>
            <a:ext cx="12192000" cy="6866022"/>
            <a:chOff x="0" y="-8022"/>
            <a:chExt cx="12192000" cy="6866022"/>
          </a:xfrm>
        </p:grpSpPr>
        <p:sp>
          <p:nvSpPr>
            <p:cNvPr id="10" name="Background - Solid">
              <a:extLst>
                <a:ext uri="{FF2B5EF4-FFF2-40B4-BE49-F238E27FC236}">
                  <a16:creationId xmlns:a16="http://schemas.microsoft.com/office/drawing/2014/main" id="{925977B4-C602-8D6C-6A7B-44C765AFA374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6B00819-6582-02B3-44BE-19D404134C3B}"/>
                </a:ext>
              </a:extLst>
            </p:cNvPr>
            <p:cNvGrpSpPr/>
            <p:nvPr/>
          </p:nvGrpSpPr>
          <p:grpSpPr>
            <a:xfrm>
              <a:off x="2021885" y="-8022"/>
              <a:ext cx="10170115" cy="174639"/>
              <a:chOff x="2021885" y="-1574"/>
              <a:chExt cx="10417812" cy="268274"/>
            </a:xfrm>
          </p:grpSpPr>
          <p:sp>
            <p:nvSpPr>
              <p:cNvPr id="13" name="Background - Solid">
                <a:extLst>
                  <a:ext uri="{FF2B5EF4-FFF2-40B4-BE49-F238E27FC236}">
                    <a16:creationId xmlns:a16="http://schemas.microsoft.com/office/drawing/2014/main" id="{9FB2979B-AE0E-62B0-58A6-392A9C8CCD2F}"/>
                  </a:ext>
                </a:extLst>
              </p:cNvPr>
              <p:cNvSpPr/>
              <p:nvPr/>
            </p:nvSpPr>
            <p:spPr>
              <a:xfrm>
                <a:off x="2021885" y="-1574"/>
                <a:ext cx="1492331" cy="268274"/>
              </a:xfrm>
              <a:prstGeom prst="rect">
                <a:avLst/>
              </a:prstGeom>
              <a:solidFill>
                <a:srgbClr val="EBB7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4" name="Background - Solid">
                <a:extLst>
                  <a:ext uri="{FF2B5EF4-FFF2-40B4-BE49-F238E27FC236}">
                    <a16:creationId xmlns:a16="http://schemas.microsoft.com/office/drawing/2014/main" id="{0EBC0316-CA05-9603-7866-F1A262439FBD}"/>
                  </a:ext>
                </a:extLst>
              </p:cNvPr>
              <p:cNvSpPr/>
              <p:nvPr/>
            </p:nvSpPr>
            <p:spPr>
              <a:xfrm>
                <a:off x="3509465" y="-1574"/>
                <a:ext cx="1492331" cy="268274"/>
              </a:xfrm>
              <a:prstGeom prst="rect">
                <a:avLst/>
              </a:prstGeom>
              <a:solidFill>
                <a:srgbClr val="407C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5" name="Background - Solid">
                <a:extLst>
                  <a:ext uri="{FF2B5EF4-FFF2-40B4-BE49-F238E27FC236}">
                    <a16:creationId xmlns:a16="http://schemas.microsoft.com/office/drawing/2014/main" id="{96467501-7C6D-9B2A-32CC-C6DB1BCABFE0}"/>
                  </a:ext>
                </a:extLst>
              </p:cNvPr>
              <p:cNvSpPr/>
              <p:nvPr/>
            </p:nvSpPr>
            <p:spPr>
              <a:xfrm>
                <a:off x="4997045" y="-1574"/>
                <a:ext cx="1492331" cy="268274"/>
              </a:xfrm>
              <a:prstGeom prst="rect">
                <a:avLst/>
              </a:prstGeom>
              <a:solidFill>
                <a:srgbClr val="FF5C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6" name="Background - Solid">
                <a:extLst>
                  <a:ext uri="{FF2B5EF4-FFF2-40B4-BE49-F238E27FC236}">
                    <a16:creationId xmlns:a16="http://schemas.microsoft.com/office/drawing/2014/main" id="{5DB76155-84F0-6B4E-A668-0536B0368C61}"/>
                  </a:ext>
                </a:extLst>
              </p:cNvPr>
              <p:cNvSpPr/>
              <p:nvPr/>
            </p:nvSpPr>
            <p:spPr>
              <a:xfrm>
                <a:off x="6484625" y="-1574"/>
                <a:ext cx="1492331" cy="268274"/>
              </a:xfrm>
              <a:prstGeom prst="rect">
                <a:avLst/>
              </a:prstGeom>
              <a:solidFill>
                <a:srgbClr val="B3B2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7" name="Background - Solid">
                <a:extLst>
                  <a:ext uri="{FF2B5EF4-FFF2-40B4-BE49-F238E27FC236}">
                    <a16:creationId xmlns:a16="http://schemas.microsoft.com/office/drawing/2014/main" id="{73B0FF6D-C58F-FF65-7AD1-33FA94AE3B0B}"/>
                  </a:ext>
                </a:extLst>
              </p:cNvPr>
              <p:cNvSpPr/>
              <p:nvPr/>
            </p:nvSpPr>
            <p:spPr>
              <a:xfrm>
                <a:off x="7972205" y="-1574"/>
                <a:ext cx="1492331" cy="268274"/>
              </a:xfrm>
              <a:prstGeom prst="rect">
                <a:avLst/>
              </a:prstGeom>
              <a:solidFill>
                <a:srgbClr val="7A26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8" name="Background - Solid">
                <a:extLst>
                  <a:ext uri="{FF2B5EF4-FFF2-40B4-BE49-F238E27FC236}">
                    <a16:creationId xmlns:a16="http://schemas.microsoft.com/office/drawing/2014/main" id="{A9343DE0-2EBE-8273-5320-5F1D6DF68CF2}"/>
                  </a:ext>
                </a:extLst>
              </p:cNvPr>
              <p:cNvSpPr/>
              <p:nvPr/>
            </p:nvSpPr>
            <p:spPr>
              <a:xfrm>
                <a:off x="9459785" y="-1574"/>
                <a:ext cx="1492331" cy="268274"/>
              </a:xfrm>
              <a:prstGeom prst="rect">
                <a:avLst/>
              </a:prstGeom>
              <a:solidFill>
                <a:srgbClr val="00AC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9" name="Background - Solid">
                <a:extLst>
                  <a:ext uri="{FF2B5EF4-FFF2-40B4-BE49-F238E27FC236}">
                    <a16:creationId xmlns:a16="http://schemas.microsoft.com/office/drawing/2014/main" id="{8EE76241-EBA0-A575-0972-5B5AE92858AD}"/>
                  </a:ext>
                </a:extLst>
              </p:cNvPr>
              <p:cNvSpPr/>
              <p:nvPr/>
            </p:nvSpPr>
            <p:spPr>
              <a:xfrm>
                <a:off x="10947366" y="-1574"/>
                <a:ext cx="1492331" cy="268274"/>
              </a:xfrm>
              <a:prstGeom prst="rect">
                <a:avLst/>
              </a:prstGeom>
              <a:solidFill>
                <a:srgbClr val="0033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</p:grp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83EC3B6-C230-EE19-4CEC-39EBF76C2AAC}"/>
                </a:ext>
              </a:extLst>
            </p:cNvPr>
            <p:cNvSpPr/>
            <p:nvPr/>
          </p:nvSpPr>
          <p:spPr>
            <a:xfrm>
              <a:off x="0" y="-8022"/>
              <a:ext cx="2193729" cy="6866022"/>
            </a:xfrm>
            <a:custGeom>
              <a:avLst/>
              <a:gdLst>
                <a:gd name="connsiteX0" fmla="*/ 372975 w 2193729"/>
                <a:gd name="connsiteY0" fmla="*/ 0 h 6866022"/>
                <a:gd name="connsiteX1" fmla="*/ 1774629 w 2193729"/>
                <a:gd name="connsiteY1" fmla="*/ 0 h 6866022"/>
                <a:gd name="connsiteX2" fmla="*/ 2193729 w 2193729"/>
                <a:gd name="connsiteY2" fmla="*/ 0 h 6866022"/>
                <a:gd name="connsiteX3" fmla="*/ 605282 w 2193729"/>
                <a:gd name="connsiteY3" fmla="*/ 6866021 h 6866022"/>
                <a:gd name="connsiteX4" fmla="*/ 469279 w 2193729"/>
                <a:gd name="connsiteY4" fmla="*/ 6865841 h 6866022"/>
                <a:gd name="connsiteX5" fmla="*/ 469279 w 2193729"/>
                <a:gd name="connsiteY5" fmla="*/ 6866022 h 6866022"/>
                <a:gd name="connsiteX6" fmla="*/ 0 w 2193729"/>
                <a:gd name="connsiteY6" fmla="*/ 6866022 h 6866022"/>
                <a:gd name="connsiteX7" fmla="*/ 0 w 2193729"/>
                <a:gd name="connsiteY7" fmla="*/ 8022 h 6866022"/>
                <a:gd name="connsiteX8" fmla="*/ 372975 w 2193729"/>
                <a:gd name="connsiteY8" fmla="*/ 8022 h 68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3729" h="6866022">
                  <a:moveTo>
                    <a:pt x="372975" y="0"/>
                  </a:moveTo>
                  <a:lnTo>
                    <a:pt x="1774629" y="0"/>
                  </a:lnTo>
                  <a:lnTo>
                    <a:pt x="2193729" y="0"/>
                  </a:lnTo>
                  <a:lnTo>
                    <a:pt x="605282" y="6866021"/>
                  </a:lnTo>
                  <a:lnTo>
                    <a:pt x="469279" y="6865841"/>
                  </a:lnTo>
                  <a:lnTo>
                    <a:pt x="469279" y="6866022"/>
                  </a:lnTo>
                  <a:lnTo>
                    <a:pt x="0" y="6866022"/>
                  </a:lnTo>
                  <a:lnTo>
                    <a:pt x="0" y="8022"/>
                  </a:lnTo>
                  <a:lnTo>
                    <a:pt x="372975" y="80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</p:grp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81812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Map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C449D-517E-7341-A77E-201DF9818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1800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F5AEE6-DC3F-5349-8290-E320FA6B14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18DF74A-BC56-9A48-A87A-86FD4ECEA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76570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15934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39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9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1" name="Picture 30" descr="A picture containing glass&#10;&#10;Description automatically generated">
            <a:extLst>
              <a:ext uri="{FF2B5EF4-FFF2-40B4-BE49-F238E27FC236}">
                <a16:creationId xmlns:a16="http://schemas.microsoft.com/office/drawing/2014/main" id="{C77B798E-B00B-BE4F-B652-3DEDF49E7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410" y="5841999"/>
            <a:ext cx="2208808" cy="644972"/>
          </a:xfrm>
          <a:prstGeom prst="rect">
            <a:avLst/>
          </a:prstGeom>
        </p:spPr>
      </p:pic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A7750DF2-3393-5544-8CED-BA62DB2BCA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088" y="5938711"/>
            <a:ext cx="2810790" cy="45154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4476AB-9595-3945-82FD-3FFD7BA4E6E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759968" y="6164485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66119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3CD42D-FF1A-0C47-8231-7E899959E7A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ABA9C3-B604-9240-A0AD-A85DB7C7F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3" name="Picture 12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C30ABBF-2E74-FC4C-B25D-B2CE07E7D2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5AFF672-4880-0248-871D-56B0BED9A01F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9">
            <a:extLst>
              <a:ext uri="{FF2B5EF4-FFF2-40B4-BE49-F238E27FC236}">
                <a16:creationId xmlns:a16="http://schemas.microsoft.com/office/drawing/2014/main" id="{0F46DA33-1B5C-0B4A-A918-EB6397868ADB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4C3AC-72BD-E543-B9D2-0ECB6D607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8E4F99F-BC94-DA4B-940F-63D0F0D9F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802125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E5A96AA-219D-061E-DF5F-4CBFAF3BEB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7298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3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3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9" y="5613399"/>
            <a:ext cx="3036959" cy="8867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910118D-F9B2-8F07-E81B-DBF8212BE3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48333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2FFF44-DBF6-4F9F-9F70-A48E8AF833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30213" y="1146175"/>
            <a:ext cx="11337925" cy="4859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604476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4081" y="1327684"/>
            <a:ext cx="3724915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3"/>
            <a:ext cx="4375150" cy="117194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18" y="417404"/>
            <a:ext cx="1966916" cy="57434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C40AB8-98C1-0C42-B5FD-48529EB36ABB}"/>
              </a:ext>
            </a:extLst>
          </p:cNvPr>
          <p:cNvCxnSpPr/>
          <p:nvPr userDrawn="1"/>
        </p:nvCxnSpPr>
        <p:spPr>
          <a:xfrm>
            <a:off x="8773248" y="5290049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62129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lte Slide - Cama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88696" y="4133613"/>
            <a:ext cx="5075683" cy="889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188AC8-FAC3-1147-B29D-05BA49105C15}"/>
              </a:ext>
            </a:extLst>
          </p:cNvPr>
          <p:cNvCxnSpPr/>
          <p:nvPr userDrawn="1"/>
        </p:nvCxnSpPr>
        <p:spPr>
          <a:xfrm>
            <a:off x="8773248" y="5228283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07478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3"/>
            <a:ext cx="4375150" cy="117194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C40AB8-98C1-0C42-B5FD-48529EB36ABB}"/>
              </a:ext>
            </a:extLst>
          </p:cNvPr>
          <p:cNvCxnSpPr/>
          <p:nvPr userDrawn="1"/>
        </p:nvCxnSpPr>
        <p:spPr>
          <a:xfrm>
            <a:off x="8773248" y="5290049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3017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ght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892335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Purpl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11516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- Solid">
            <a:extLst>
              <a:ext uri="{FF2B5EF4-FFF2-40B4-BE49-F238E27FC236}">
                <a16:creationId xmlns:a16="http://schemas.microsoft.com/office/drawing/2014/main" id="{925977B4-C602-8D6C-6A7B-44C765AFA37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583EC3B6-C230-EE19-4CEC-39EBF76C2AAC}"/>
              </a:ext>
            </a:extLst>
          </p:cNvPr>
          <p:cNvSpPr/>
          <p:nvPr/>
        </p:nvSpPr>
        <p:spPr>
          <a:xfrm>
            <a:off x="0" y="-8022"/>
            <a:ext cx="2193729" cy="6866022"/>
          </a:xfrm>
          <a:custGeom>
            <a:avLst/>
            <a:gdLst>
              <a:gd name="connsiteX0" fmla="*/ 372975 w 2193729"/>
              <a:gd name="connsiteY0" fmla="*/ 0 h 6866022"/>
              <a:gd name="connsiteX1" fmla="*/ 1774629 w 2193729"/>
              <a:gd name="connsiteY1" fmla="*/ 0 h 6866022"/>
              <a:gd name="connsiteX2" fmla="*/ 2193729 w 2193729"/>
              <a:gd name="connsiteY2" fmla="*/ 0 h 6866022"/>
              <a:gd name="connsiteX3" fmla="*/ 605282 w 2193729"/>
              <a:gd name="connsiteY3" fmla="*/ 6866021 h 6866022"/>
              <a:gd name="connsiteX4" fmla="*/ 469279 w 2193729"/>
              <a:gd name="connsiteY4" fmla="*/ 6865841 h 6866022"/>
              <a:gd name="connsiteX5" fmla="*/ 469279 w 2193729"/>
              <a:gd name="connsiteY5" fmla="*/ 6866022 h 6866022"/>
              <a:gd name="connsiteX6" fmla="*/ 0 w 2193729"/>
              <a:gd name="connsiteY6" fmla="*/ 6866022 h 6866022"/>
              <a:gd name="connsiteX7" fmla="*/ 0 w 2193729"/>
              <a:gd name="connsiteY7" fmla="*/ 8022 h 6866022"/>
              <a:gd name="connsiteX8" fmla="*/ 372975 w 2193729"/>
              <a:gd name="connsiteY8" fmla="*/ 8022 h 6866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3729" h="6866022">
                <a:moveTo>
                  <a:pt x="372975" y="0"/>
                </a:moveTo>
                <a:lnTo>
                  <a:pt x="1774629" y="0"/>
                </a:lnTo>
                <a:lnTo>
                  <a:pt x="2193729" y="0"/>
                </a:lnTo>
                <a:lnTo>
                  <a:pt x="605282" y="6866021"/>
                </a:lnTo>
                <a:lnTo>
                  <a:pt x="469279" y="6865841"/>
                </a:lnTo>
                <a:lnTo>
                  <a:pt x="469279" y="6866022"/>
                </a:lnTo>
                <a:lnTo>
                  <a:pt x="0" y="6866022"/>
                </a:lnTo>
                <a:lnTo>
                  <a:pt x="0" y="8022"/>
                </a:lnTo>
                <a:lnTo>
                  <a:pt x="372975" y="80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6692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Green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542448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Orang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956304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on Yellow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618441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on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56881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Dark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794196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84764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5153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53061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07499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2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874683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7FCA3B97-2395-2E49-3664-1A72163C8181}"/>
              </a:ext>
            </a:extLst>
          </p:cNvPr>
          <p:cNvSpPr/>
          <p:nvPr userDrawn="1"/>
        </p:nvSpPr>
        <p:spPr>
          <a:xfrm rot="10800000" flipV="1">
            <a:off x="0" y="3517136"/>
            <a:ext cx="12192000" cy="3428999"/>
          </a:xfrm>
          <a:custGeom>
            <a:avLst/>
            <a:gdLst>
              <a:gd name="connsiteX0" fmla="*/ 6858000 w 6858000"/>
              <a:gd name="connsiteY0" fmla="*/ 1978237 h 1978237"/>
              <a:gd name="connsiteX1" fmla="*/ 6858000 w 6858000"/>
              <a:gd name="connsiteY1" fmla="*/ 0 h 1978237"/>
              <a:gd name="connsiteX2" fmla="*/ 0 w 6858000"/>
              <a:gd name="connsiteY2" fmla="*/ 922089 h 1978237"/>
              <a:gd name="connsiteX3" fmla="*/ 0 w 6858000"/>
              <a:gd name="connsiteY3" fmla="*/ 1978237 h 1978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978237">
                <a:moveTo>
                  <a:pt x="6858000" y="1978237"/>
                </a:moveTo>
                <a:lnTo>
                  <a:pt x="6858000" y="0"/>
                </a:lnTo>
                <a:lnTo>
                  <a:pt x="0" y="922089"/>
                </a:lnTo>
                <a:lnTo>
                  <a:pt x="0" y="1978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r>
              <a:rPr lang="en-US" dirty="0">
                <a:solidFill>
                  <a:schemeClr val="lt1">
                    <a:alpha val="44000"/>
                  </a:schemeClr>
                </a:solidFill>
              </a:rPr>
              <a:t>m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2161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46622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65518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09910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55371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66628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9198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6828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Side Circle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5409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Side Circle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103557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Side Circle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1112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67D4130B-DFAC-123A-76F8-6446387BA6A8}"/>
              </a:ext>
            </a:extLst>
          </p:cNvPr>
          <p:cNvSpPr/>
          <p:nvPr userDrawn="1"/>
        </p:nvSpPr>
        <p:spPr>
          <a:xfrm>
            <a:off x="3274927" y="-8022"/>
            <a:ext cx="5642146" cy="6866021"/>
          </a:xfrm>
          <a:custGeom>
            <a:avLst/>
            <a:gdLst>
              <a:gd name="connsiteX0" fmla="*/ 1588447 w 5642146"/>
              <a:gd name="connsiteY0" fmla="*/ 0 h 6866021"/>
              <a:gd name="connsiteX1" fmla="*/ 5642146 w 5642146"/>
              <a:gd name="connsiteY1" fmla="*/ 5377 h 6866021"/>
              <a:gd name="connsiteX2" fmla="*/ 4054943 w 5642146"/>
              <a:gd name="connsiteY2" fmla="*/ 6866021 h 6866021"/>
              <a:gd name="connsiteX3" fmla="*/ 0 w 5642146"/>
              <a:gd name="connsiteY3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2146" h="6866021">
                <a:moveTo>
                  <a:pt x="1588447" y="0"/>
                </a:moveTo>
                <a:lnTo>
                  <a:pt x="5642146" y="5377"/>
                </a:lnTo>
                <a:lnTo>
                  <a:pt x="4054943" y="6866021"/>
                </a:lnTo>
                <a:lnTo>
                  <a:pt x="0" y="6866021"/>
                </a:lnTo>
                <a:close/>
              </a:path>
            </a:pathLst>
          </a:custGeom>
          <a:solidFill>
            <a:srgbClr val="00338D">
              <a:alpha val="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53870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68418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375921"/>
            <a:ext cx="11337925" cy="603503"/>
          </a:xfrm>
        </p:spPr>
        <p:txBody>
          <a:bodyPr/>
          <a:lstStyle>
            <a:lvl1pPr>
              <a:defRPr sz="2400" cap="none" spc="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891194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375921"/>
            <a:ext cx="11337925" cy="603503"/>
          </a:xfrm>
        </p:spPr>
        <p:txBody>
          <a:bodyPr/>
          <a:lstStyle>
            <a:lvl1pPr>
              <a:defRPr sz="2400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10143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Map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C449D-517E-7341-A77E-201DF9818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1800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F5AEE6-DC3F-5349-8290-E320FA6B14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18DF74A-BC56-9A48-A87A-86FD4ECEA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30381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244601"/>
            <a:ext cx="5953760" cy="23876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1593450" y="5613399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4000" y="5033961"/>
            <a:ext cx="5953760" cy="579438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4000" y="5740401"/>
            <a:ext cx="4310063" cy="51816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1" name="Picture 30" descr="A picture containing glass&#10;&#10;Description automatically generated">
            <a:extLst>
              <a:ext uri="{FF2B5EF4-FFF2-40B4-BE49-F238E27FC236}">
                <a16:creationId xmlns:a16="http://schemas.microsoft.com/office/drawing/2014/main" id="{C77B798E-B00B-BE4F-B652-3DEDF49E7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976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A707A-6BF3-7F41-BF25-D121B80B6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6"/>
            <a:ext cx="8653041" cy="66502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E18DA7-EB25-0A4D-AFFE-9F109FA79F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264199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244601"/>
            <a:ext cx="5953760" cy="23876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A picture containing glass&#10;&#10;Description automatically generated">
            <a:extLst>
              <a:ext uri="{FF2B5EF4-FFF2-40B4-BE49-F238E27FC236}">
                <a16:creationId xmlns:a16="http://schemas.microsoft.com/office/drawing/2014/main" id="{AB5113BD-7857-7644-9348-F00190265A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9689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2A27B2B-D725-E34D-AAC0-178890B4709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ln>
            <a:solidFill>
              <a:schemeClr val="bg1"/>
            </a:solidFill>
          </a:ln>
        </p:spPr>
        <p:txBody>
          <a:bodyPr tIns="3749039"/>
          <a:lstStyle>
            <a:lvl1pPr algn="ctr">
              <a:defRPr sz="140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5" y="407038"/>
            <a:ext cx="11331573" cy="354965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10000"/>
              </a:lnSpc>
              <a:defRPr sz="1801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8" y="6300787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CC0AD6-AD16-2A49-B552-266C20958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218" y="715581"/>
            <a:ext cx="11331575" cy="732220"/>
          </a:xfrm>
        </p:spPr>
        <p:txBody>
          <a:bodyPr/>
          <a:lstStyle>
            <a:lvl1pPr>
              <a:defRPr sz="4800" b="1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EDC4F3D-7182-9C45-98C8-DB077F1F2D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218" y="1912714"/>
            <a:ext cx="4816475" cy="2141538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6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1600"/>
              </a:spcAft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SzPct val="95000"/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182888" indent="-182888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SzPct val="9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365775" indent="-182888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Font typeface="System Font Regular"/>
              <a:buChar char="–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895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7">
          <p15:clr>
            <a:srgbClr val="FBAE40"/>
          </p15:clr>
        </p15:guide>
        <p15:guide id="8" pos="6521">
          <p15:clr>
            <a:srgbClr val="FBAE40"/>
          </p15:clr>
        </p15:guide>
        <p15:guide id="9" pos="1163">
          <p15:clr>
            <a:srgbClr val="FBAE40"/>
          </p15:clr>
        </p15:guide>
        <p15:guide id="10" pos="2053">
          <p15:clr>
            <a:srgbClr val="FBAE40"/>
          </p15:clr>
        </p15:guide>
        <p15:guide id="11" pos="2946">
          <p15:clr>
            <a:srgbClr val="FBAE40"/>
          </p15:clr>
        </p15:guide>
        <p15:guide id="12" orient="horz" pos="1224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Logo Wa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5" y="416560"/>
            <a:ext cx="11331573" cy="9144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85000"/>
              </a:lnSpc>
              <a:defRPr sz="5401" cap="none" spc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8" y="6300787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1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30FFCA-AC15-074C-89F5-119A6E0A57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218" y="2155783"/>
            <a:ext cx="11331575" cy="9906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1pPr>
            <a:lvl2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2pPr>
            <a:lvl3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3pPr>
            <a:lvl4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4pPr>
            <a:lvl5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788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7">
          <p15:clr>
            <a:srgbClr val="FBAE40"/>
          </p15:clr>
        </p15:guide>
        <p15:guide id="8" pos="6521">
          <p15:clr>
            <a:srgbClr val="FBAE40"/>
          </p15:clr>
        </p15:guide>
        <p15:guide id="9" pos="1163">
          <p15:clr>
            <a:srgbClr val="FBAE40"/>
          </p15:clr>
        </p15:guide>
        <p15:guide id="10" pos="2053">
          <p15:clr>
            <a:srgbClr val="FBAE40"/>
          </p15:clr>
        </p15:guide>
        <p15:guide id="11" pos="2946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2E31B-AFCA-3A49-8D31-32F81BFC45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3995928"/>
            <a:ext cx="5672139" cy="1152144"/>
          </a:xfrm>
        </p:spPr>
        <p:txBody>
          <a:bodyPr anchor="t"/>
          <a:lstStyle>
            <a:lvl1pPr algn="ctr">
              <a:lnSpc>
                <a:spcPct val="130000"/>
              </a:lnSpc>
              <a:defRPr sz="1801" cap="all" spc="100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nter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1398FE-631C-5040-A2CF-79C7C0A900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4" y="5586983"/>
            <a:ext cx="5672137" cy="800369"/>
          </a:xfrm>
        </p:spPr>
        <p:txBody>
          <a:bodyPr anchor="t"/>
          <a:lstStyle>
            <a:lvl1pPr marL="0" indent="0" algn="ctr">
              <a:spcBef>
                <a:spcPts val="0"/>
              </a:spcBef>
              <a:spcAft>
                <a:spcPts val="1801"/>
              </a:spcAft>
              <a:buNone/>
              <a:defRPr sz="1401" cap="all" spc="1001" baseline="0">
                <a:solidFill>
                  <a:schemeClr val="tx1"/>
                </a:solidFill>
              </a:defRPr>
            </a:lvl1pPr>
            <a:lvl2pPr marL="457218" indent="0" algn="ctr">
              <a:buNone/>
              <a:defRPr sz="2000"/>
            </a:lvl2pPr>
            <a:lvl3pPr marL="914435" indent="0" algn="ctr">
              <a:buNone/>
              <a:defRPr sz="1801"/>
            </a:lvl3pPr>
            <a:lvl4pPr marL="1371651" indent="0" algn="ctr">
              <a:buNone/>
              <a:defRPr sz="1600"/>
            </a:lvl4pPr>
            <a:lvl5pPr marL="1828869" indent="0" algn="ctr">
              <a:buNone/>
              <a:defRPr sz="1600"/>
            </a:lvl5pPr>
            <a:lvl6pPr marL="2286085" indent="0" algn="ctr">
              <a:buNone/>
              <a:defRPr sz="1600"/>
            </a:lvl6pPr>
            <a:lvl7pPr marL="2743302" indent="0" algn="ctr">
              <a:buNone/>
              <a:defRPr sz="1600"/>
            </a:lvl7pPr>
            <a:lvl8pPr marL="3200520" indent="0" algn="ctr">
              <a:buNone/>
              <a:defRPr sz="1600"/>
            </a:lvl8pPr>
            <a:lvl9pPr marL="3657738" indent="0" algn="ctr">
              <a:buNone/>
              <a:defRPr sz="1600"/>
            </a:lvl9pPr>
          </a:lstStyle>
          <a:p>
            <a:r>
              <a:rPr lang="en-US"/>
              <a:t>Click to Enter date and location(10pt type and 5pt character spacing</a:t>
            </a:r>
          </a:p>
        </p:txBody>
      </p:sp>
    </p:spTree>
    <p:extLst>
      <p:ext uri="{BB962C8B-B14F-4D97-AF65-F5344CB8AC3E}">
        <p14:creationId xmlns:p14="http://schemas.microsoft.com/office/powerpoint/2010/main" val="3595996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A707A-6BF3-7F41-BF25-D121B80B6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E18DA7-EB25-0A4D-AFFE-9F109FA79F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112EB3CF-D9C7-6A43-9572-2FD29EB93B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8045D26-8C33-294E-98EE-70FFFD7130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0991150-1FA1-B94F-9E36-C0849AD9E98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C54B4AE-E7BB-FE47-8A11-B7A39D99E298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3C4CAAAC-B9EF-4240-A7A1-7A5F45378BB7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52498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2E31B-AFCA-3A49-8D31-32F81BFC45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0218" y="478466"/>
            <a:ext cx="5665787" cy="2671762"/>
          </a:xfrm>
        </p:spPr>
        <p:txBody>
          <a:bodyPr anchor="t"/>
          <a:lstStyle>
            <a:lvl1pPr algn="l">
              <a:lnSpc>
                <a:spcPct val="80000"/>
              </a:lnSpc>
              <a:defRPr sz="6601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E427316-ABD4-B143-BFFB-9E13D16F7E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061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664">
          <p15:clr>
            <a:srgbClr val="FBAE40"/>
          </p15:clr>
        </p15:guide>
        <p15:guide id="3" orient="horz" pos="3288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Left Bar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3B861-15DD-C049-9B3E-714B1EF8BA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34151" y="1714500"/>
            <a:ext cx="5233988" cy="2903540"/>
          </a:xfr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2601" b="1">
                <a:solidFill>
                  <a:schemeClr val="tx1"/>
                </a:solidFill>
              </a:defRPr>
            </a:lvl1pPr>
            <a:lvl2pPr marL="0" indent="0" algn="l">
              <a:spcAft>
                <a:spcPts val="1001"/>
              </a:spcAft>
              <a:buNone/>
              <a:defRPr sz="6601" b="1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SzPct val="115000"/>
              <a:buFontTx/>
              <a:buNone/>
              <a:defRPr sz="2000">
                <a:solidFill>
                  <a:schemeClr val="tx1"/>
                </a:solidFill>
              </a:defRPr>
            </a:lvl3pPr>
            <a:lvl4pPr marL="342913" indent="-342913" algn="l">
              <a:spcAft>
                <a:spcPts val="1200"/>
              </a:spcAft>
              <a:buSzPct val="115000"/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</a:defRPr>
            </a:lvl4pPr>
            <a:lvl5pPr marL="0" indent="0" algn="l">
              <a:buSzPct val="90000"/>
              <a:buFont typeface="Wingdings" pitchFamily="2" charset="2"/>
              <a:buNone/>
              <a:tabLst/>
              <a:defRPr sz="140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irst Level Indent</a:t>
            </a:r>
          </a:p>
          <a:p>
            <a:pPr lvl="1"/>
            <a:r>
              <a:rPr lang="en-US"/>
              <a:t>2nd Level #s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8" y="6300787"/>
            <a:ext cx="4040187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7949" y="1714499"/>
            <a:ext cx="2813431" cy="998413"/>
          </a:xfrm>
        </p:spPr>
        <p:txBody>
          <a:bodyPr lIns="0" tIns="0" rIns="182880" bIns="0" anchor="t">
            <a:noAutofit/>
          </a:bodyPr>
          <a:lstStyle>
            <a:lvl1pPr algn="r">
              <a:lnSpc>
                <a:spcPct val="130000"/>
              </a:lnSpc>
              <a:defRPr sz="1801" cap="all" spc="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6497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6">
          <p15:clr>
            <a:srgbClr val="FBAE40"/>
          </p15:clr>
        </p15:guide>
        <p15:guide id="2" pos="2930">
          <p15:clr>
            <a:srgbClr val="FBAE40"/>
          </p15:clr>
        </p15:guide>
        <p15:guide id="3" pos="5305">
          <p15:clr>
            <a:srgbClr val="FBAE40"/>
          </p15:clr>
        </p15:guide>
        <p15:guide id="4" pos="649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3240">
          <p15:clr>
            <a:srgbClr val="FBAE40"/>
          </p15:clr>
        </p15:guide>
        <p15:guide id="7" orient="horz" pos="108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ic Layou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5" y="416560"/>
            <a:ext cx="11331573" cy="9144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10000"/>
              </a:lnSpc>
              <a:defRPr sz="1801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3B861-15DD-C049-9B3E-714B1EF8BA31}"/>
              </a:ext>
            </a:extLst>
          </p:cNvPr>
          <p:cNvSpPr>
            <a:spLocks noGrp="1"/>
          </p:cNvSpPr>
          <p:nvPr>
            <p:ph idx="1"/>
          </p:nvPr>
        </p:nvSpPr>
        <p:spPr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601" b="1">
                <a:solidFill>
                  <a:schemeClr val="bg1"/>
                </a:solidFill>
              </a:defRPr>
            </a:lvl1pPr>
            <a:lvl2pPr marL="0" indent="0">
              <a:spcAft>
                <a:spcPts val="601"/>
              </a:spcAft>
              <a:buNone/>
              <a:defRPr sz="6601" b="1">
                <a:solidFill>
                  <a:schemeClr val="bg1"/>
                </a:solidFill>
              </a:defRPr>
            </a:lvl2pPr>
            <a:lvl3pPr marL="0" indent="0">
              <a:spcAft>
                <a:spcPts val="601"/>
              </a:spcAft>
              <a:buSzPct val="115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3pPr>
            <a:lvl4pPr marL="342913" indent="-342913">
              <a:spcAft>
                <a:spcPts val="601"/>
              </a:spcAft>
              <a:buFontTx/>
              <a:buBlip>
                <a:blip r:embed="rId2"/>
              </a:buBlip>
              <a:tabLst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601"/>
              </a:spcAft>
              <a:buSzPct val="90000"/>
              <a:buFont typeface="Wingdings" pitchFamily="2" charset="2"/>
              <a:buNone/>
              <a:tabLst/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#s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8" y="6300787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01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7">
          <p15:clr>
            <a:srgbClr val="FBAE40"/>
          </p15:clr>
        </p15:guide>
        <p15:guide id="8" pos="6521">
          <p15:clr>
            <a:srgbClr val="FBAE40"/>
          </p15:clr>
        </p15:guide>
        <p15:guide id="9" pos="1163">
          <p15:clr>
            <a:srgbClr val="FBAE40"/>
          </p15:clr>
        </p15:guide>
        <p15:guide id="10" pos="2053">
          <p15:clr>
            <a:srgbClr val="FBAE40"/>
          </p15:clr>
        </p15:guide>
        <p15:guide id="11" pos="2946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8" y="6300787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1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136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7">
          <p15:clr>
            <a:srgbClr val="FBAE40"/>
          </p15:clr>
        </p15:guide>
        <p15:guide id="8" pos="6521">
          <p15:clr>
            <a:srgbClr val="FBAE40"/>
          </p15:clr>
        </p15:guide>
        <p15:guide id="9" pos="1163">
          <p15:clr>
            <a:srgbClr val="FBAE40"/>
          </p15:clr>
        </p15:guide>
        <p15:guide id="10" pos="2053">
          <p15:clr>
            <a:srgbClr val="FBAE40"/>
          </p15:clr>
        </p15:guide>
        <p15:guide id="11" pos="2946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287B9AC-07B9-F245-A329-1B92B71C0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8" y="349353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991874-8CE8-5F47-8EF3-03585FB94A82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9BC20C9-6EF0-5442-ACAB-2CF985941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8" name="Picture 17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BBF532C8-FF84-A542-999E-3EFDE15AD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A72F3E-1932-A54E-A80A-FBE7218B1B06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F73B7E7A-E455-B042-81D7-2FAA43EACBC8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E043BEB-992B-3E4E-ACC5-E80A78853D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497342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2A27B2B-D725-E34D-AAC0-178890B4709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ln>
            <a:solidFill>
              <a:schemeClr val="bg1"/>
            </a:solidFill>
          </a:ln>
        </p:spPr>
        <p:txBody>
          <a:bodyPr tIns="3749039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407035"/>
            <a:ext cx="11331574" cy="354965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10000"/>
              </a:lnSpc>
              <a:defRPr sz="1800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CC0AD6-AD16-2A49-B552-266C20958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213" y="715581"/>
            <a:ext cx="11331575" cy="732220"/>
          </a:xfrm>
        </p:spPr>
        <p:txBody>
          <a:bodyPr/>
          <a:lstStyle>
            <a:lvl1pPr>
              <a:defRPr sz="5000" b="1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EDC4F3D-7182-9C45-98C8-DB077F1F2D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213" y="1912713"/>
            <a:ext cx="4816475" cy="2141538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6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1600"/>
              </a:spcAft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SzPct val="95000"/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SzPct val="9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365760" indent="-182880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Font typeface="System Font Regular"/>
              <a:buChar char="–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253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6">
          <p15:clr>
            <a:srgbClr val="FBAE40"/>
          </p15:clr>
        </p15:guide>
        <p15:guide id="8" pos="6520">
          <p15:clr>
            <a:srgbClr val="FBAE40"/>
          </p15:clr>
        </p15:guide>
        <p15:guide id="9" pos="1162">
          <p15:clr>
            <a:srgbClr val="FBAE40"/>
          </p15:clr>
        </p15:guide>
        <p15:guide id="10" pos="2054">
          <p15:clr>
            <a:srgbClr val="FBAE40"/>
          </p15:clr>
        </p15:guide>
        <p15:guide id="11" pos="2946">
          <p15:clr>
            <a:srgbClr val="FBAE40"/>
          </p15:clr>
        </p15:guide>
        <p15:guide id="12" orient="horz" pos="122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Logo Wa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416560"/>
            <a:ext cx="11331574" cy="9144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85000"/>
              </a:lnSpc>
              <a:defRPr sz="5400" cap="none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30FFCA-AC15-074C-89F5-119A6E0A57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213" y="2155783"/>
            <a:ext cx="11331575" cy="9906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1pPr>
            <a:lvl2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2pPr>
            <a:lvl3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3pPr>
            <a:lvl4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4pPr>
            <a:lvl5pPr>
              <a:spcAft>
                <a:spcPts val="1600"/>
              </a:spcAft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027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6">
          <p15:clr>
            <a:srgbClr val="FBAE40"/>
          </p15:clr>
        </p15:guide>
        <p15:guide id="8" pos="6520">
          <p15:clr>
            <a:srgbClr val="FBAE40"/>
          </p15:clr>
        </p15:guide>
        <p15:guide id="9" pos="1162">
          <p15:clr>
            <a:srgbClr val="FBAE40"/>
          </p15:clr>
        </p15:guide>
        <p15:guide id="10" pos="2054">
          <p15:clr>
            <a:srgbClr val="FBAE40"/>
          </p15:clr>
        </p15:guide>
        <p15:guide id="11" pos="2946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2E31B-AFCA-3A49-8D31-32F81BFC45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3995928"/>
            <a:ext cx="5672138" cy="1152144"/>
          </a:xfrm>
        </p:spPr>
        <p:txBody>
          <a:bodyPr anchor="t"/>
          <a:lstStyle>
            <a:lvl1pPr algn="ctr">
              <a:lnSpc>
                <a:spcPct val="130000"/>
              </a:lnSpc>
              <a:defRPr sz="1800" cap="all" spc="1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nter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1398FE-631C-5040-A2CF-79C7C0A900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5586983"/>
            <a:ext cx="5672137" cy="800369"/>
          </a:xfrm>
        </p:spPr>
        <p:txBody>
          <a:bodyPr anchor="t"/>
          <a:lstStyle>
            <a:lvl1pPr marL="0" indent="0" algn="ctr">
              <a:spcBef>
                <a:spcPts val="0"/>
              </a:spcBef>
              <a:spcAft>
                <a:spcPts val="1800"/>
              </a:spcAft>
              <a:buNone/>
              <a:defRPr sz="1400" cap="all" spc="1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nter date and location(10pt type and 5pt character spacing</a:t>
            </a:r>
          </a:p>
        </p:txBody>
      </p:sp>
    </p:spTree>
    <p:extLst>
      <p:ext uri="{BB962C8B-B14F-4D97-AF65-F5344CB8AC3E}">
        <p14:creationId xmlns:p14="http://schemas.microsoft.com/office/powerpoint/2010/main" val="95291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2E31B-AFCA-3A49-8D31-32F81BFC45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0213" y="478466"/>
            <a:ext cx="5665787" cy="2671762"/>
          </a:xfrm>
        </p:spPr>
        <p:txBody>
          <a:bodyPr anchor="t"/>
          <a:lstStyle>
            <a:lvl1pPr algn="l">
              <a:lnSpc>
                <a:spcPct val="80000"/>
              </a:lnSpc>
              <a:defRPr sz="660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E427316-ABD4-B143-BFFB-9E13D16F7E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632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664">
          <p15:clr>
            <a:srgbClr val="FBAE40"/>
          </p15:clr>
        </p15:guide>
        <p15:guide id="3" orient="horz" pos="3288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Left Bar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3B861-15DD-C049-9B3E-714B1EF8BA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34150" y="1714500"/>
            <a:ext cx="5233988" cy="2903540"/>
          </a:xfr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2600" b="1">
                <a:solidFill>
                  <a:schemeClr val="tx1"/>
                </a:solidFill>
              </a:defRPr>
            </a:lvl1pPr>
            <a:lvl2pPr marL="0" indent="0" algn="l">
              <a:spcAft>
                <a:spcPts val="1000"/>
              </a:spcAft>
              <a:buNone/>
              <a:defRPr sz="6600" b="1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SzPct val="115000"/>
              <a:buFontTx/>
              <a:buNone/>
              <a:defRPr sz="2000">
                <a:solidFill>
                  <a:schemeClr val="tx1"/>
                </a:solidFill>
              </a:defRPr>
            </a:lvl3pPr>
            <a:lvl4pPr marL="342900" indent="-342900" algn="l">
              <a:spcAft>
                <a:spcPts val="1200"/>
              </a:spcAft>
              <a:buSzPct val="115000"/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</a:defRPr>
            </a:lvl4pPr>
            <a:lvl5pPr marL="0" indent="0" algn="l">
              <a:buSzPct val="90000"/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 Indent</a:t>
            </a:r>
          </a:p>
          <a:p>
            <a:pPr lvl="1"/>
            <a:r>
              <a:rPr lang="en-US" dirty="0"/>
              <a:t>2nd Level #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4040187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7944" y="1714499"/>
            <a:ext cx="2813431" cy="998413"/>
          </a:xfrm>
        </p:spPr>
        <p:txBody>
          <a:bodyPr lIns="0" tIns="0" rIns="182880" bIns="0" anchor="t">
            <a:noAutofit/>
          </a:bodyPr>
          <a:lstStyle>
            <a:lvl1pPr algn="r">
              <a:lnSpc>
                <a:spcPct val="130000"/>
              </a:lnSpc>
              <a:defRPr sz="1800" cap="all" spc="7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435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6">
          <p15:clr>
            <a:srgbClr val="FBAE40"/>
          </p15:clr>
        </p15:guide>
        <p15:guide id="2" pos="2930">
          <p15:clr>
            <a:srgbClr val="FBAE40"/>
          </p15:clr>
        </p15:guide>
        <p15:guide id="3" pos="5304">
          <p15:clr>
            <a:srgbClr val="FBAE40"/>
          </p15:clr>
        </p15:guide>
        <p15:guide id="4" pos="649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3240">
          <p15:clr>
            <a:srgbClr val="FBAE40"/>
          </p15:clr>
        </p15:guide>
        <p15:guide id="7" orient="horz" pos="10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1E0CEC9-9D2F-5544-87AE-66A08FEBD4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0818" y="346722"/>
            <a:ext cx="9144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CAD6617-8761-4247-A702-E4F2A27BAE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163" y="1392238"/>
            <a:ext cx="5684837" cy="4879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112EB3CF-D9C7-6A43-9572-2FD29EB93B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8045D26-8C33-294E-98EE-70FFFD7130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0991150-1FA1-B94F-9E36-C0849AD9E98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C54B4AE-E7BB-FE47-8A11-B7A39D99E298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3C4CAAAC-B9EF-4240-A7A1-7A5F45378BB7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6BCC36-4B75-9949-9C55-D7B729C66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1193" y="450565"/>
            <a:ext cx="10515600" cy="70671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677783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ic Layou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2E39A-C010-D042-AA8F-65A211F5C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416560"/>
            <a:ext cx="11331574" cy="9144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10000"/>
              </a:lnSpc>
              <a:defRPr sz="1800" cap="all" spc="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3B861-15DD-C049-9B3E-714B1EF8BA31}"/>
              </a:ext>
            </a:extLst>
          </p:cNvPr>
          <p:cNvSpPr>
            <a:spLocks noGrp="1"/>
          </p:cNvSpPr>
          <p:nvPr>
            <p:ph idx="1"/>
          </p:nvPr>
        </p:nvSpPr>
        <p:spPr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600" b="1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6600" b="1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SzPct val="115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3pPr>
            <a:lvl4pPr marL="342900" indent="-342900">
              <a:spcAft>
                <a:spcPts val="600"/>
              </a:spcAft>
              <a:buFontTx/>
              <a:buBlip>
                <a:blip r:embed="rId2"/>
              </a:buBlip>
              <a:tabLst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600"/>
              </a:spcAft>
              <a:buSzPct val="90000"/>
              <a:buFont typeface="Wingdings" pitchFamily="2" charset="2"/>
              <a:buNone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#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218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6">
          <p15:clr>
            <a:srgbClr val="FBAE40"/>
          </p15:clr>
        </p15:guide>
        <p15:guide id="8" pos="6520">
          <p15:clr>
            <a:srgbClr val="FBAE40"/>
          </p15:clr>
        </p15:guide>
        <p15:guide id="9" pos="1162">
          <p15:clr>
            <a:srgbClr val="FBAE40"/>
          </p15:clr>
        </p15:guide>
        <p15:guide id="10" pos="2054">
          <p15:clr>
            <a:srgbClr val="FBAE40"/>
          </p15:clr>
        </p15:guide>
        <p15:guide id="11" pos="2946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750D76-F39F-AF49-9509-2A6BE3D99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20FE9A1-C389-8A4F-A988-C5FD5574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081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orient="horz" pos="2784">
          <p15:clr>
            <a:srgbClr val="FBAE40"/>
          </p15:clr>
        </p15:guide>
        <p15:guide id="4" orient="horz" pos="3408">
          <p15:clr>
            <a:srgbClr val="FBAE40"/>
          </p15:clr>
        </p15:guide>
        <p15:guide id="6" pos="4732">
          <p15:clr>
            <a:srgbClr val="FBAE40"/>
          </p15:clr>
        </p15:guide>
        <p15:guide id="7" pos="5626">
          <p15:clr>
            <a:srgbClr val="FBAE40"/>
          </p15:clr>
        </p15:guide>
        <p15:guide id="8" pos="6520">
          <p15:clr>
            <a:srgbClr val="FBAE40"/>
          </p15:clr>
        </p15:guide>
        <p15:guide id="9" pos="1162">
          <p15:clr>
            <a:srgbClr val="FBAE40"/>
          </p15:clr>
        </p15:guide>
        <p15:guide id="10" pos="2054">
          <p15:clr>
            <a:srgbClr val="FBAE40"/>
          </p15:clr>
        </p15:guide>
        <p15:guide id="11" pos="2946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ision breaker Slide">
    <p:bg>
      <p:bgPr>
        <a:solidFill>
          <a:srgbClr val="1023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6235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erlay">
            <a:extLst>
              <a:ext uri="{FF2B5EF4-FFF2-40B4-BE49-F238E27FC236}">
                <a16:creationId xmlns:a16="http://schemas.microsoft.com/office/drawing/2014/main" id="{89790728-0DD7-1F42-9A48-48A941B20D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6" name="Gold Bar">
            <a:extLst>
              <a:ext uri="{FF2B5EF4-FFF2-40B4-BE49-F238E27FC236}">
                <a16:creationId xmlns:a16="http://schemas.microsoft.com/office/drawing/2014/main" id="{C4B2230D-595B-5246-A3B2-FB53F20DDBA8}"/>
              </a:ext>
            </a:extLst>
          </p:cNvPr>
          <p:cNvSpPr/>
          <p:nvPr userDrawn="1"/>
        </p:nvSpPr>
        <p:spPr>
          <a:xfrm>
            <a:off x="792677" y="3883983"/>
            <a:ext cx="1178336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1999" y="320647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1F6599DE-5FEF-F349-BA19-07E55E174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4189206"/>
            <a:ext cx="7696200" cy="535194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3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2827529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ision breaker Slide">
    <p:bg>
      <p:bgPr>
        <a:solidFill>
          <a:srgbClr val="1023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320647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597353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7E290E0-8CE6-F24F-9F6F-55AEF23BA2BC}"/>
              </a:ext>
            </a:extLst>
          </p:cNvPr>
          <p:cNvSpPr/>
          <p:nvPr userDrawn="1"/>
        </p:nvSpPr>
        <p:spPr>
          <a:xfrm>
            <a:off x="0" y="0"/>
            <a:ext cx="12217791" cy="6858000"/>
          </a:xfrm>
          <a:prstGeom prst="rect">
            <a:avLst/>
          </a:prstGeom>
          <a:gradFill flip="none" rotWithShape="1">
            <a:gsLst>
              <a:gs pos="0">
                <a:srgbClr val="000238"/>
              </a:gs>
              <a:gs pos="100000">
                <a:srgbClr val="3F3F54"/>
              </a:gs>
            </a:gsLst>
            <a:lin ang="342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99859875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erlay">
            <a:extLst>
              <a:ext uri="{FF2B5EF4-FFF2-40B4-BE49-F238E27FC236}">
                <a16:creationId xmlns:a16="http://schemas.microsoft.com/office/drawing/2014/main" id="{89790728-0DD7-1F42-9A48-48A941B20D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14" tIns="35507" rIns="71014" bIns="35507" rtlCol="0" anchor="ctr"/>
          <a:lstStyle/>
          <a:p>
            <a:pPr algn="ctr"/>
            <a:endParaRPr lang="en-US" sz="180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6" name="Gold Bar">
            <a:extLst>
              <a:ext uri="{FF2B5EF4-FFF2-40B4-BE49-F238E27FC236}">
                <a16:creationId xmlns:a16="http://schemas.microsoft.com/office/drawing/2014/main" id="{C4B2230D-595B-5246-A3B2-FB53F20DDBA8}"/>
              </a:ext>
            </a:extLst>
          </p:cNvPr>
          <p:cNvSpPr/>
          <p:nvPr userDrawn="1"/>
        </p:nvSpPr>
        <p:spPr>
          <a:xfrm>
            <a:off x="792677" y="3883983"/>
            <a:ext cx="1178336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014" tIns="35507" rIns="71014" bIns="35507"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0" y="320648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700" b="1">
                <a:solidFill>
                  <a:schemeClr val="bg1"/>
                </a:solidFill>
              </a:defRPr>
            </a:lvl1pPr>
            <a:lvl2pPr marL="389324" indent="0" algn="ctr">
              <a:buNone/>
              <a:defRPr sz="3000">
                <a:solidFill>
                  <a:srgbClr val="F0C300"/>
                </a:solidFill>
              </a:defRPr>
            </a:lvl2pPr>
            <a:lvl3pPr marL="685783" indent="0" algn="ctr">
              <a:buNone/>
              <a:defRPr sz="3000">
                <a:solidFill>
                  <a:srgbClr val="F0C300"/>
                </a:solidFill>
              </a:defRPr>
            </a:lvl3pPr>
            <a:lvl4pPr marL="1028674" indent="0" algn="ctr">
              <a:buNone/>
              <a:defRPr sz="3000">
                <a:solidFill>
                  <a:srgbClr val="F0C300"/>
                </a:solidFill>
              </a:defRPr>
            </a:lvl4pPr>
            <a:lvl5pPr marL="1371566" indent="0" algn="ctr">
              <a:buNone/>
              <a:defRPr sz="3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1F6599DE-5FEF-F349-BA19-07E55E174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4189206"/>
            <a:ext cx="7696200" cy="535194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2390444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ision breaker Slide">
    <p:bg>
      <p:bgPr>
        <a:solidFill>
          <a:srgbClr val="1023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6" y="320648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>
                <a:solidFill>
                  <a:schemeClr val="bg1"/>
                </a:solidFill>
              </a:defRPr>
            </a:lvl1pPr>
            <a:lvl2pPr marL="389324" indent="0" algn="ctr">
              <a:buNone/>
              <a:defRPr sz="3000">
                <a:solidFill>
                  <a:srgbClr val="F0C300"/>
                </a:solidFill>
              </a:defRPr>
            </a:lvl2pPr>
            <a:lvl3pPr marL="685783" indent="0" algn="ctr">
              <a:buNone/>
              <a:defRPr sz="3000">
                <a:solidFill>
                  <a:srgbClr val="F0C300"/>
                </a:solidFill>
              </a:defRPr>
            </a:lvl3pPr>
            <a:lvl4pPr marL="1028674" indent="0" algn="ctr">
              <a:buNone/>
              <a:defRPr sz="3000">
                <a:solidFill>
                  <a:srgbClr val="F0C300"/>
                </a:solidFill>
              </a:defRPr>
            </a:lvl4pPr>
            <a:lvl5pPr marL="1371566" indent="0" algn="ctr">
              <a:buNone/>
              <a:defRPr sz="3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67425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7E290E0-8CE6-F24F-9F6F-55AEF23BA2BC}"/>
              </a:ext>
            </a:extLst>
          </p:cNvPr>
          <p:cNvSpPr/>
          <p:nvPr userDrawn="1"/>
        </p:nvSpPr>
        <p:spPr>
          <a:xfrm>
            <a:off x="2" y="0"/>
            <a:ext cx="12217791" cy="6858000"/>
          </a:xfrm>
          <a:prstGeom prst="rect">
            <a:avLst/>
          </a:prstGeom>
          <a:gradFill flip="none" rotWithShape="1">
            <a:gsLst>
              <a:gs pos="0">
                <a:srgbClr val="000238"/>
              </a:gs>
              <a:gs pos="100000">
                <a:srgbClr val="3F3F54"/>
              </a:gs>
            </a:gsLst>
            <a:lin ang="342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08348425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Vision breaker Slide"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erlay">
            <a:extLst>
              <a:ext uri="{FF2B5EF4-FFF2-40B4-BE49-F238E27FC236}">
                <a16:creationId xmlns:a16="http://schemas.microsoft.com/office/drawing/2014/main" id="{9867D72A-78B6-BB41-9E26-24D654E9B4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7C1B2E00-2594-E34D-8908-64A6305E3B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30000" y="6400800"/>
            <a:ext cx="330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319123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E13CCD-82B0-8141-A54C-7576C8221ACF}"/>
              </a:ext>
            </a:extLst>
          </p:cNvPr>
          <p:cNvSpPr/>
          <p:nvPr userDrawn="1"/>
        </p:nvSpPr>
        <p:spPr>
          <a:xfrm>
            <a:off x="5370871" y="3962400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A951A9-91CA-064C-8D91-1F99DBF4F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0850" y="4361279"/>
            <a:ext cx="6210300" cy="1524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519099" indent="0">
              <a:buNone/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01</a:t>
            </a:r>
          </a:p>
          <a:p>
            <a:pPr lvl="0"/>
            <a:r>
              <a:rPr lang="en-US" dirty="0"/>
              <a:t>Bullet 02</a:t>
            </a:r>
          </a:p>
          <a:p>
            <a:pPr lvl="0"/>
            <a:r>
              <a:rPr lang="en-US" dirty="0"/>
              <a:t>Bullet 03</a:t>
            </a:r>
          </a:p>
          <a:p>
            <a:pPr lvl="0"/>
            <a:r>
              <a:rPr lang="en-US" dirty="0"/>
              <a:t>Bullet 04</a:t>
            </a:r>
          </a:p>
        </p:txBody>
      </p:sp>
    </p:spTree>
    <p:extLst>
      <p:ext uri="{BB962C8B-B14F-4D97-AF65-F5344CB8AC3E}">
        <p14:creationId xmlns:p14="http://schemas.microsoft.com/office/powerpoint/2010/main" val="3170616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BB8F37-0E51-C443-92E6-10DF3612109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5A6B55DA-FCD9-A84C-9BCE-A69F52E4EE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4315B66-EBD7-0A42-ACB2-9E41FC05845F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668BA2A-274A-4D46-995B-C2A36B15C76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AF04690-718A-5840-8633-94801BEDE96B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0FBA4552-0C65-DD4B-AC3A-C53B06E838B2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D5F0FFC-64E5-984E-8312-ADD1A478E1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5755" y="1269612"/>
            <a:ext cx="4343884" cy="4830763"/>
          </a:xfrm>
          <a:ln w="28575">
            <a:solidFill>
              <a:schemeClr val="accent2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0C04F88-9FFE-6240-A06C-F03D42D74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0945393-5477-1243-A015-0E69F058B0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269612"/>
            <a:ext cx="5354255" cy="49073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652509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ain Tit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 Image" hidden="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38FBF2CF-0FA6-9943-84EB-29395595E7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8" name="Page number"/>
          <p:cNvSpPr txBox="1">
            <a:spLocks noChangeArrowheads="1"/>
          </p:cNvSpPr>
          <p:nvPr userDrawn="1"/>
        </p:nvSpPr>
        <p:spPr bwMode="auto">
          <a:xfrm>
            <a:off x="11201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3A89380-D473-6C42-ACCA-BB4117594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62200" y="3276600"/>
            <a:ext cx="7239000" cy="1752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Lorem ipsum dolor sit amet, illud </a:t>
            </a:r>
            <a:r>
              <a:rPr lang="en-US" sz="2400" dirty="0" err="1">
                <a:solidFill>
                  <a:schemeClr val="bg1"/>
                </a:solidFill>
              </a:rPr>
              <a:t>dolore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oluptaria</a:t>
            </a:r>
            <a:r>
              <a:rPr lang="en-US" sz="2400" dirty="0">
                <a:solidFill>
                  <a:schemeClr val="bg1"/>
                </a:solidFill>
              </a:rPr>
              <a:t> id vel. Duo no </a:t>
            </a:r>
            <a:r>
              <a:rPr lang="en-US" sz="2400" dirty="0" err="1">
                <a:solidFill>
                  <a:schemeClr val="bg1"/>
                </a:solidFill>
              </a:rPr>
              <a:t>prompt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accusam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dirty="0" err="1">
                <a:solidFill>
                  <a:schemeClr val="bg1"/>
                </a:solidFill>
              </a:rPr>
              <a:t>discere</a:t>
            </a:r>
            <a:r>
              <a:rPr lang="en-US" sz="2400" dirty="0">
                <a:solidFill>
                  <a:schemeClr val="bg1"/>
                </a:solidFill>
              </a:rPr>
              <a:t> minimum </a:t>
            </a:r>
            <a:r>
              <a:rPr lang="en-US" sz="2400" dirty="0" err="1">
                <a:solidFill>
                  <a:schemeClr val="bg1"/>
                </a:solidFill>
              </a:rPr>
              <a:t>corrumpi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el</a:t>
            </a:r>
            <a:r>
              <a:rPr lang="en-US" sz="2400" dirty="0">
                <a:solidFill>
                  <a:schemeClr val="bg1"/>
                </a:solidFill>
              </a:rPr>
              <a:t> no.</a:t>
            </a:r>
          </a:p>
        </p:txBody>
      </p:sp>
    </p:spTree>
    <p:extLst>
      <p:ext uri="{BB962C8B-B14F-4D97-AF65-F5344CB8AC3E}">
        <p14:creationId xmlns:p14="http://schemas.microsoft.com/office/powerpoint/2010/main" val="128293970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Vision breaker Slide"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erlay">
            <a:extLst>
              <a:ext uri="{FF2B5EF4-FFF2-40B4-BE49-F238E27FC236}">
                <a16:creationId xmlns:a16="http://schemas.microsoft.com/office/drawing/2014/main" id="{9867D72A-78B6-BB41-9E26-24D654E9B4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14" tIns="35507" rIns="71014" bIns="35507" rtlCol="0" anchor="ctr"/>
          <a:lstStyle/>
          <a:p>
            <a:pPr algn="ctr"/>
            <a:endParaRPr lang="en-US" sz="1800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7C1B2E00-2594-E34D-8908-64A6305E3B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30000" y="6420038"/>
            <a:ext cx="33020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75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sz="750" dirty="0">
              <a:solidFill>
                <a:schemeClr val="bg1"/>
              </a:solidFill>
            </a:endParaRP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6" y="319124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>
                <a:solidFill>
                  <a:schemeClr val="bg1"/>
                </a:solidFill>
              </a:defRPr>
            </a:lvl1pPr>
            <a:lvl2pPr marL="389324" indent="0" algn="ctr">
              <a:buNone/>
              <a:defRPr sz="3000">
                <a:solidFill>
                  <a:srgbClr val="F0C300"/>
                </a:solidFill>
              </a:defRPr>
            </a:lvl2pPr>
            <a:lvl3pPr marL="685783" indent="0" algn="ctr">
              <a:buNone/>
              <a:defRPr sz="3000">
                <a:solidFill>
                  <a:srgbClr val="F0C300"/>
                </a:solidFill>
              </a:defRPr>
            </a:lvl3pPr>
            <a:lvl4pPr marL="1028674" indent="0" algn="ctr">
              <a:buNone/>
              <a:defRPr sz="3000">
                <a:solidFill>
                  <a:srgbClr val="F0C300"/>
                </a:solidFill>
              </a:defRPr>
            </a:lvl4pPr>
            <a:lvl5pPr marL="1371566" indent="0" algn="ctr">
              <a:buNone/>
              <a:defRPr sz="3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E13CCD-82B0-8141-A54C-7576C8221ACF}"/>
              </a:ext>
            </a:extLst>
          </p:cNvPr>
          <p:cNvSpPr/>
          <p:nvPr userDrawn="1"/>
        </p:nvSpPr>
        <p:spPr>
          <a:xfrm>
            <a:off x="5370872" y="3962400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014" tIns="35507" rIns="71014" bIns="35507" rtlCol="0" anchor="ctr"/>
          <a:lstStyle/>
          <a:p>
            <a:pPr algn="ctr"/>
            <a:endParaRPr lang="en-US" sz="180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A951A9-91CA-064C-8D91-1F99DBF4F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0851" y="4361279"/>
            <a:ext cx="6210300" cy="1524000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  <a:lvl2pPr marL="389324" indent="0">
              <a:buNone/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01</a:t>
            </a:r>
          </a:p>
          <a:p>
            <a:pPr lvl="0"/>
            <a:r>
              <a:rPr lang="en-US" dirty="0"/>
              <a:t>Bullet 02</a:t>
            </a:r>
          </a:p>
          <a:p>
            <a:pPr lvl="0"/>
            <a:r>
              <a:rPr lang="en-US" dirty="0"/>
              <a:t>Bullet 03</a:t>
            </a:r>
          </a:p>
          <a:p>
            <a:pPr lvl="0"/>
            <a:r>
              <a:rPr lang="en-US" dirty="0"/>
              <a:t>Bullet 04</a:t>
            </a:r>
          </a:p>
        </p:txBody>
      </p:sp>
    </p:spTree>
    <p:extLst>
      <p:ext uri="{BB962C8B-B14F-4D97-AF65-F5344CB8AC3E}">
        <p14:creationId xmlns:p14="http://schemas.microsoft.com/office/powerpoint/2010/main" val="1414526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FEB8E-D4E2-A887-FC97-27766E5B7D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D2E9F12-79D6-291B-D082-3F8C08683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154377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4981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9337BEC2-1448-DD4F-8F95-1A8A3533DA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410" y="5841999"/>
            <a:ext cx="2208808" cy="644972"/>
          </a:xfrm>
          <a:prstGeom prst="rect">
            <a:avLst/>
          </a:prstGeom>
        </p:spPr>
      </p:pic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E4B04884-5587-E646-B95E-69F79936C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088" y="5938711"/>
            <a:ext cx="2810790" cy="451549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2344E1-B1E6-BC45-8AC1-C7ECFD9F89C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759968" y="6164485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559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287B9AC-07B9-F245-A329-1B92B71C0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8" y="349353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991874-8CE8-5F47-8EF3-03585FB94A82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9BC20C9-6EF0-5442-ACAB-2CF985941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8" name="Picture 17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BBF532C8-FF84-A542-999E-3EFDE15AD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A72F3E-1932-A54E-A80A-FBE7218B1B06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F73B7E7A-E455-B042-81D7-2FAA43EACBC8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E043BEB-992B-3E4E-ACC5-E80A78853D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72372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3CD42D-FF1A-0C47-8231-7E899959E7A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ABA9C3-B604-9240-A0AD-A85DB7C7F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3" name="Picture 12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C30ABBF-2E74-FC4C-B25D-B2CE07E7D2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5AFF672-4880-0248-871D-56B0BED9A01F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9">
            <a:extLst>
              <a:ext uri="{FF2B5EF4-FFF2-40B4-BE49-F238E27FC236}">
                <a16:creationId xmlns:a16="http://schemas.microsoft.com/office/drawing/2014/main" id="{0F46DA33-1B5C-0B4A-A918-EB6397868ADB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4C3AC-72BD-E543-B9D2-0ECB6D607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8E4F99F-BC94-DA4B-940F-63D0F0D9F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4914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E5A96AA-219D-061E-DF5F-4CBFAF3BEB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7298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3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3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9" y="5613399"/>
            <a:ext cx="3036959" cy="8867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910118D-F9B2-8F07-E81B-DBF8212BE3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2786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E5A96AA-219D-061E-DF5F-4CBFAF3BEB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7298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3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3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9" y="5613399"/>
            <a:ext cx="3036959" cy="8867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910118D-F9B2-8F07-E81B-DBF8212BE3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0923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60E41FF-E248-1EA4-A943-0BC35D873C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36D0290-D344-59A7-3676-4BD06B9956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0E86D0F-5AC8-EAB7-4A47-FF7934D306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9" y="5613399"/>
            <a:ext cx="3036959" cy="8867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A45F9E-C4AF-EFE3-4260-8FB402B1D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F42C7ED-03DB-B4BE-2EB5-A9BF582C85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3632200"/>
            <a:ext cx="6360160" cy="7461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0871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60E41FF-E248-1EA4-A943-0BC35D873C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A45F9E-C4AF-EFE3-4260-8FB402B1D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5136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314D1A4-B8A5-DF79-B9CC-D092E0A05D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6000" y="0"/>
            <a:ext cx="2286000" cy="2286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EF5A5B-8A75-DC12-FF52-622110DC1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0" y="4572000"/>
            <a:ext cx="2286000" cy="228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7298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3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3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338D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399" y="5613399"/>
            <a:ext cx="3036958" cy="88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1172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36D0290-D344-59A7-3676-4BD06B9956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F42C7ED-03DB-B4BE-2EB5-A9BF582C85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3632200"/>
            <a:ext cx="6360160" cy="746125"/>
          </a:xfrm>
        </p:spPr>
        <p:txBody>
          <a:bodyPr/>
          <a:lstStyle>
            <a:lvl1pPr marL="0" indent="0">
              <a:buNone/>
              <a:defRPr>
                <a:solidFill>
                  <a:srgbClr val="00338D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AD4C1B-2D3C-1536-3381-80862091B0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6000" y="0"/>
            <a:ext cx="2286000" cy="2286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CFA580D-9CA5-7F7E-87AE-9083B0D675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0" y="4572000"/>
            <a:ext cx="2286000" cy="2286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74FED4-16E6-269E-D243-69847E91A8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399" y="5613399"/>
            <a:ext cx="3036958" cy="88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3418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244601"/>
            <a:ext cx="5953760" cy="23876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A picture containing glass&#10;&#10;Description automatically generated">
            <a:extLst>
              <a:ext uri="{FF2B5EF4-FFF2-40B4-BE49-F238E27FC236}">
                <a16:creationId xmlns:a16="http://schemas.microsoft.com/office/drawing/2014/main" id="{AB5113BD-7857-7644-9348-F00190265A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4921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AB8C3-10A7-3743-807C-DDFA2E6F9F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23686"/>
            <a:ext cx="10515600" cy="47532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287B9AC-07B9-F245-A329-1B92B71C0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6"/>
            <a:ext cx="8653041" cy="665022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52F9647-778A-D94E-8B73-7BE69C3F4529}"/>
              </a:ext>
            </a:extLst>
          </p:cNvPr>
          <p:cNvCxnSpPr/>
          <p:nvPr userDrawn="1"/>
        </p:nvCxnSpPr>
        <p:spPr>
          <a:xfrm>
            <a:off x="838200" y="967695"/>
            <a:ext cx="4233530" cy="0"/>
          </a:xfrm>
          <a:prstGeom prst="line">
            <a:avLst/>
          </a:prstGeom>
          <a:ln w="28575">
            <a:solidFill>
              <a:srgbClr val="EBB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6F5E8020-BC79-B843-AB9E-3C1D932D7C3C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7B3A4A51-F7F9-CB41-8E7C-DE0C78AF6F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F19EA265-C2F5-5740-86F5-940817373821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422CB68-F27B-E842-8A11-C97CBE6D1670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7DF2F50-8E7D-1B42-8761-21F808AD4C85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lide Number Placeholder 19">
            <a:extLst>
              <a:ext uri="{FF2B5EF4-FFF2-40B4-BE49-F238E27FC236}">
                <a16:creationId xmlns:a16="http://schemas.microsoft.com/office/drawing/2014/main" id="{9502FCF6-3A21-C84B-B59E-4F93397DA7C5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5022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244601"/>
            <a:ext cx="5953760" cy="23876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1593450" y="5613399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4000" y="5033961"/>
            <a:ext cx="5953760" cy="579438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4000" y="5740401"/>
            <a:ext cx="4310063" cy="51816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1" name="Picture 30" descr="A picture containing glass&#10;&#10;Description automatically generated">
            <a:extLst>
              <a:ext uri="{FF2B5EF4-FFF2-40B4-BE49-F238E27FC236}">
                <a16:creationId xmlns:a16="http://schemas.microsoft.com/office/drawing/2014/main" id="{C77B798E-B00B-BE4F-B652-3DEDF49E7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9258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A707A-6BF3-7F41-BF25-D121B80B6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6"/>
            <a:ext cx="8653041" cy="66502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E18DA7-EB25-0A4D-AFFE-9F109FA79F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13348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244601"/>
            <a:ext cx="5953760" cy="23876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84D8DC-1635-9C4A-99B5-1D801E87941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20BF4C2-8310-3F45-BF88-A8A30439A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8" name="Picture 17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8E476DA7-4AEC-5645-BC5E-9AAD3BAD5C7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88CEFA6-9A7F-4F43-AA25-33A596E431D1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AA815A6F-6EC4-7640-8C07-D190169ED44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52400" y="6361642"/>
            <a:ext cx="114808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9D2149-6FA0-4B4E-8818-1AEC2B97CF4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 descr="A picture containing glass&#10;&#10;Description automatically generated">
            <a:extLst>
              <a:ext uri="{FF2B5EF4-FFF2-40B4-BE49-F238E27FC236}">
                <a16:creationId xmlns:a16="http://schemas.microsoft.com/office/drawing/2014/main" id="{AB5113BD-7857-7644-9348-F00190265AD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155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60E41FF-E248-1EA4-A943-0BC35D873C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36D0290-D344-59A7-3676-4BD06B9956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0E86D0F-5AC8-EAB7-4A47-FF7934D306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9" y="5613399"/>
            <a:ext cx="3036959" cy="8867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A45F9E-C4AF-EFE3-4260-8FB402B1D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F42C7ED-03DB-B4BE-2EB5-A9BF582C85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3632200"/>
            <a:ext cx="6360160" cy="7461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8813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15934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39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9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1" name="Picture 30" descr="A picture containing glass&#10;&#10;Description automatically generated">
            <a:extLst>
              <a:ext uri="{FF2B5EF4-FFF2-40B4-BE49-F238E27FC236}">
                <a16:creationId xmlns:a16="http://schemas.microsoft.com/office/drawing/2014/main" id="{C77B798E-B00B-BE4F-B652-3DEDF49E7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3999" y="5613399"/>
            <a:ext cx="3036959" cy="88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9258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4981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A picture containing glass&#10;&#10;Description automatically generated">
            <a:extLst>
              <a:ext uri="{FF2B5EF4-FFF2-40B4-BE49-F238E27FC236}">
                <a16:creationId xmlns:a16="http://schemas.microsoft.com/office/drawing/2014/main" id="{AB5113BD-7857-7644-9348-F00190265A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207170D-B158-3A4A-88B5-F8645712DC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3999" y="5613399"/>
            <a:ext cx="3036959" cy="88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4921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3396DB-1F56-6D4A-BCDC-A5F1B4E3E7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74E8E-73DC-B94C-AC22-082FD083696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A7F0D7D1-1430-0D43-B6B9-B46069553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1165531-C215-804F-AE12-55E8E3E82EFF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45DA1B5-E441-0844-B645-78621A90868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4E11239-27D7-A349-9313-6F72C8353D7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FFB1BE5A-FAB0-9A45-A856-0089E4ECC20C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B15404F-B2E8-0C49-ADDD-0D23A833D5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45022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A61BC02-E3A8-0FE0-C55B-81EFDFFC41CA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076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985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 - Solid">
            <a:extLst>
              <a:ext uri="{FF2B5EF4-FFF2-40B4-BE49-F238E27FC236}">
                <a16:creationId xmlns:a16="http://schemas.microsoft.com/office/drawing/2014/main" id="{FF15D0BC-4DD3-8F0C-91D3-9F43F98E7FA6}"/>
              </a:ext>
            </a:extLst>
          </p:cNvPr>
          <p:cNvSpPr/>
          <p:nvPr userDrawn="1"/>
        </p:nvSpPr>
        <p:spPr>
          <a:xfrm rot="10800000">
            <a:off x="0" y="0"/>
            <a:ext cx="12192000" cy="6858000"/>
          </a:xfrm>
          <a:prstGeom prst="rect">
            <a:avLst/>
          </a:pr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 dirty="0">
                <a:solidFill>
                  <a:schemeClr val="lt1">
                    <a:alpha val="44000"/>
                  </a:schemeClr>
                </a:solidFill>
              </a:rPr>
              <a:t>aa</a:t>
            </a:r>
          </a:p>
        </p:txBody>
      </p:sp>
      <p:sp>
        <p:nvSpPr>
          <p:cNvPr id="8" name="Slice - Solid">
            <a:extLst>
              <a:ext uri="{FF2B5EF4-FFF2-40B4-BE49-F238E27FC236}">
                <a16:creationId xmlns:a16="http://schemas.microsoft.com/office/drawing/2014/main" id="{048419A5-D689-FFED-7D77-A8CA9BBA0F23}"/>
              </a:ext>
            </a:extLst>
          </p:cNvPr>
          <p:cNvSpPr/>
          <p:nvPr userDrawn="1"/>
        </p:nvSpPr>
        <p:spPr>
          <a:xfrm rot="10800000">
            <a:off x="0" y="-8023"/>
            <a:ext cx="10950498" cy="6866021"/>
          </a:xfrm>
          <a:custGeom>
            <a:avLst/>
            <a:gdLst>
              <a:gd name="connsiteX0" fmla="*/ 1588447 w 11187128"/>
              <a:gd name="connsiteY0" fmla="*/ 0 h 6866021"/>
              <a:gd name="connsiteX1" fmla="*/ 5139450 w 11187128"/>
              <a:gd name="connsiteY1" fmla="*/ 4711 h 6866021"/>
              <a:gd name="connsiteX2" fmla="*/ 5140539 w 11187128"/>
              <a:gd name="connsiteY2" fmla="*/ 0 h 6866021"/>
              <a:gd name="connsiteX3" fmla="*/ 11187128 w 11187128"/>
              <a:gd name="connsiteY3" fmla="*/ 8021 h 6866021"/>
              <a:gd name="connsiteX4" fmla="*/ 11187128 w 11187128"/>
              <a:gd name="connsiteY4" fmla="*/ 6866021 h 6866021"/>
              <a:gd name="connsiteX5" fmla="*/ 7635036 w 11187128"/>
              <a:gd name="connsiteY5" fmla="*/ 6866021 h 6866021"/>
              <a:gd name="connsiteX6" fmla="*/ 3552092 w 11187128"/>
              <a:gd name="connsiteY6" fmla="*/ 6866021 h 6866021"/>
              <a:gd name="connsiteX7" fmla="*/ 0 w 11187128"/>
              <a:gd name="connsiteY7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87128" h="6866021">
                <a:moveTo>
                  <a:pt x="1588447" y="0"/>
                </a:moveTo>
                <a:lnTo>
                  <a:pt x="5139450" y="4711"/>
                </a:lnTo>
                <a:lnTo>
                  <a:pt x="5140539" y="0"/>
                </a:lnTo>
                <a:lnTo>
                  <a:pt x="11187128" y="8021"/>
                </a:lnTo>
                <a:lnTo>
                  <a:pt x="11187128" y="6866021"/>
                </a:lnTo>
                <a:lnTo>
                  <a:pt x="7635036" y="6866021"/>
                </a:lnTo>
                <a:lnTo>
                  <a:pt x="3552092" y="6866021"/>
                </a:lnTo>
                <a:lnTo>
                  <a:pt x="0" y="68660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6905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4503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044DD407-FAA6-55B7-A0FF-5C2F0A021676}"/>
              </a:ext>
            </a:extLst>
          </p:cNvPr>
          <p:cNvSpPr/>
          <p:nvPr userDrawn="1"/>
        </p:nvSpPr>
        <p:spPr>
          <a:xfrm>
            <a:off x="3274927" y="-8022"/>
            <a:ext cx="5642146" cy="6866021"/>
          </a:xfrm>
          <a:custGeom>
            <a:avLst/>
            <a:gdLst>
              <a:gd name="connsiteX0" fmla="*/ 1588447 w 5642146"/>
              <a:gd name="connsiteY0" fmla="*/ 0 h 6866021"/>
              <a:gd name="connsiteX1" fmla="*/ 5642146 w 5642146"/>
              <a:gd name="connsiteY1" fmla="*/ 5377 h 6866021"/>
              <a:gd name="connsiteX2" fmla="*/ 4054943 w 5642146"/>
              <a:gd name="connsiteY2" fmla="*/ 6866021 h 6866021"/>
              <a:gd name="connsiteX3" fmla="*/ 0 w 5642146"/>
              <a:gd name="connsiteY3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2146" h="6866021">
                <a:moveTo>
                  <a:pt x="1588447" y="0"/>
                </a:moveTo>
                <a:lnTo>
                  <a:pt x="5642146" y="5377"/>
                </a:lnTo>
                <a:lnTo>
                  <a:pt x="4054943" y="6866021"/>
                </a:lnTo>
                <a:lnTo>
                  <a:pt x="0" y="6866021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9803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7A83E1B-CD1D-6C88-BFCB-C60F7F0CA341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Background - Solid">
              <a:extLst>
                <a:ext uri="{FF2B5EF4-FFF2-40B4-BE49-F238E27FC236}">
                  <a16:creationId xmlns:a16="http://schemas.microsoft.com/office/drawing/2014/main" id="{B4440424-12E7-D97F-CFF8-0C0386769534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endParaRPr lang="en-US" dirty="0">
                <a:solidFill>
                  <a:srgbClr val="0D2240">
                    <a:alpha val="44000"/>
                  </a:srgbClr>
                </a:solidFill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22C9D25-9EEB-411D-72E3-90C4194444B5}"/>
                </a:ext>
              </a:extLst>
            </p:cNvPr>
            <p:cNvSpPr/>
            <p:nvPr/>
          </p:nvSpPr>
          <p:spPr>
            <a:xfrm rot="16200000" flipV="1">
              <a:off x="-105115" y="105115"/>
              <a:ext cx="6858000" cy="6647770"/>
            </a:xfrm>
            <a:custGeom>
              <a:avLst/>
              <a:gdLst>
                <a:gd name="connsiteX0" fmla="*/ 0 w 6858000"/>
                <a:gd name="connsiteY0" fmla="*/ 922089 h 6647770"/>
                <a:gd name="connsiteX1" fmla="*/ 0 w 6858000"/>
                <a:gd name="connsiteY1" fmla="*/ 2959412 h 6647770"/>
                <a:gd name="connsiteX2" fmla="*/ 0 w 6858000"/>
                <a:gd name="connsiteY2" fmla="*/ 4610448 h 6647770"/>
                <a:gd name="connsiteX3" fmla="*/ 0 w 6858000"/>
                <a:gd name="connsiteY3" fmla="*/ 6647770 h 6647770"/>
                <a:gd name="connsiteX4" fmla="*/ 6858000 w 6858000"/>
                <a:gd name="connsiteY4" fmla="*/ 6647770 h 6647770"/>
                <a:gd name="connsiteX5" fmla="*/ 6858000 w 6858000"/>
                <a:gd name="connsiteY5" fmla="*/ 4610448 h 6647770"/>
                <a:gd name="connsiteX6" fmla="*/ 6858000 w 6858000"/>
                <a:gd name="connsiteY6" fmla="*/ 2037322 h 6647770"/>
                <a:gd name="connsiteX7" fmla="*/ 6858000 w 6858000"/>
                <a:gd name="connsiteY7" fmla="*/ 0 h 664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6647770">
                  <a:moveTo>
                    <a:pt x="0" y="922089"/>
                  </a:moveTo>
                  <a:lnTo>
                    <a:pt x="0" y="2959412"/>
                  </a:lnTo>
                  <a:lnTo>
                    <a:pt x="0" y="4610448"/>
                  </a:lnTo>
                  <a:lnTo>
                    <a:pt x="0" y="6647770"/>
                  </a:lnTo>
                  <a:lnTo>
                    <a:pt x="6858000" y="6647770"/>
                  </a:lnTo>
                  <a:lnTo>
                    <a:pt x="6858000" y="4610448"/>
                  </a:lnTo>
                  <a:lnTo>
                    <a:pt x="6858000" y="2037322"/>
                  </a:lnTo>
                  <a:lnTo>
                    <a:pt x="685800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23D93AD-AFAF-1FB6-46B2-01C24332518D}"/>
                </a:ext>
              </a:extLst>
            </p:cNvPr>
            <p:cNvGrpSpPr/>
            <p:nvPr/>
          </p:nvGrpSpPr>
          <p:grpSpPr>
            <a:xfrm>
              <a:off x="4955038" y="0"/>
              <a:ext cx="1677492" cy="6858000"/>
              <a:chOff x="4955038" y="0"/>
              <a:chExt cx="1677492" cy="6858000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BD1EF664-F240-F597-F784-FEA0E449BB93}"/>
                  </a:ext>
                </a:extLst>
              </p:cNvPr>
              <p:cNvSpPr/>
              <p:nvPr/>
            </p:nvSpPr>
            <p:spPr>
              <a:xfrm>
                <a:off x="4955038" y="0"/>
                <a:ext cx="1360969" cy="6858000"/>
              </a:xfrm>
              <a:custGeom>
                <a:avLst/>
                <a:gdLst>
                  <a:gd name="connsiteX0" fmla="*/ 903769 w 1360969"/>
                  <a:gd name="connsiteY0" fmla="*/ 0 h 6858000"/>
                  <a:gd name="connsiteX1" fmla="*/ 1360969 w 1360969"/>
                  <a:gd name="connsiteY1" fmla="*/ 0 h 6858000"/>
                  <a:gd name="connsiteX2" fmla="*/ 457200 w 1360969"/>
                  <a:gd name="connsiteY2" fmla="*/ 6858000 h 6858000"/>
                  <a:gd name="connsiteX3" fmla="*/ 0 w 1360969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0969" h="6858000">
                    <a:moveTo>
                      <a:pt x="903769" y="0"/>
                    </a:moveTo>
                    <a:lnTo>
                      <a:pt x="1360969" y="0"/>
                    </a:lnTo>
                    <a:lnTo>
                      <a:pt x="457200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rgbClr val="0D2240">
                  <a:alpha val="4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4685" tIns="47343" rIns="94685" bIns="47343" rtlCol="0" anchor="ctr">
                <a:noAutofit/>
              </a:bodyPr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66774CC9-542D-F645-A1B9-0BE2E4B68180}"/>
                  </a:ext>
                </a:extLst>
              </p:cNvPr>
              <p:cNvSpPr/>
              <p:nvPr/>
            </p:nvSpPr>
            <p:spPr>
              <a:xfrm>
                <a:off x="5271561" y="0"/>
                <a:ext cx="1360969" cy="6858000"/>
              </a:xfrm>
              <a:custGeom>
                <a:avLst/>
                <a:gdLst>
                  <a:gd name="connsiteX0" fmla="*/ 903769 w 1360969"/>
                  <a:gd name="connsiteY0" fmla="*/ 0 h 6858000"/>
                  <a:gd name="connsiteX1" fmla="*/ 1360969 w 1360969"/>
                  <a:gd name="connsiteY1" fmla="*/ 0 h 6858000"/>
                  <a:gd name="connsiteX2" fmla="*/ 457200 w 1360969"/>
                  <a:gd name="connsiteY2" fmla="*/ 6858000 h 6858000"/>
                  <a:gd name="connsiteX3" fmla="*/ 0 w 1360969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0969" h="6858000">
                    <a:moveTo>
                      <a:pt x="903769" y="0"/>
                    </a:moveTo>
                    <a:lnTo>
                      <a:pt x="1360969" y="0"/>
                    </a:lnTo>
                    <a:lnTo>
                      <a:pt x="457200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rgbClr val="0D2240">
                  <a:alpha val="4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4685" tIns="47343" rIns="94685" bIns="47343" rtlCol="0" anchor="ctr">
                <a:noAutofit/>
              </a:bodyPr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</p:grpSp>
      </p:grp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6608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5622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B2C74E7-5A3E-AFCA-DCD1-F30C658B7D2D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96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60E41FF-E248-1EA4-A943-0BC35D873C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4572001"/>
            <a:ext cx="2286000" cy="228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A45F9E-C4AF-EFE3-4260-8FB402B1D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0" y="-1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0204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F138AD2-EFC0-BE54-E28E-3B61CECDF92B}"/>
              </a:ext>
            </a:extLst>
          </p:cNvPr>
          <p:cNvGrpSpPr/>
          <p:nvPr userDrawn="1"/>
        </p:nvGrpSpPr>
        <p:grpSpPr>
          <a:xfrm>
            <a:off x="-165759" y="-8021"/>
            <a:ext cx="12357759" cy="6866021"/>
            <a:chOff x="-165759" y="-8021"/>
            <a:chExt cx="12357759" cy="6866021"/>
          </a:xfrm>
        </p:grpSpPr>
        <p:sp>
          <p:nvSpPr>
            <p:cNvPr id="7" name="Background - Solid">
              <a:extLst>
                <a:ext uri="{FF2B5EF4-FFF2-40B4-BE49-F238E27FC236}">
                  <a16:creationId xmlns:a16="http://schemas.microsoft.com/office/drawing/2014/main" id="{168D6320-8B75-EBD5-3113-8195718AED00}"/>
                </a:ext>
              </a:extLst>
            </p:cNvPr>
            <p:cNvSpPr/>
            <p:nvPr userDrawn="1"/>
          </p:nvSpPr>
          <p:spPr>
            <a:xfrm rot="10800000"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lt1">
                      <a:alpha val="44000"/>
                    </a:schemeClr>
                  </a:solidFill>
                </a:rPr>
                <a:t>aa</a:t>
              </a:r>
            </a:p>
          </p:txBody>
        </p:sp>
        <p:sp>
          <p:nvSpPr>
            <p:cNvPr id="8" name="Slice - Solid">
              <a:extLst>
                <a:ext uri="{FF2B5EF4-FFF2-40B4-BE49-F238E27FC236}">
                  <a16:creationId xmlns:a16="http://schemas.microsoft.com/office/drawing/2014/main" id="{585D9042-D4FA-CA8B-F235-4C1A902C1A7F}"/>
                </a:ext>
              </a:extLst>
            </p:cNvPr>
            <p:cNvSpPr/>
            <p:nvPr userDrawn="1"/>
          </p:nvSpPr>
          <p:spPr>
            <a:xfrm rot="10800000">
              <a:off x="-165759" y="-8021"/>
              <a:ext cx="11187128" cy="6866021"/>
            </a:xfrm>
            <a:custGeom>
              <a:avLst/>
              <a:gdLst>
                <a:gd name="connsiteX0" fmla="*/ 1588447 w 11187128"/>
                <a:gd name="connsiteY0" fmla="*/ 0 h 6866021"/>
                <a:gd name="connsiteX1" fmla="*/ 5139450 w 11187128"/>
                <a:gd name="connsiteY1" fmla="*/ 4711 h 6866021"/>
                <a:gd name="connsiteX2" fmla="*/ 5140539 w 11187128"/>
                <a:gd name="connsiteY2" fmla="*/ 0 h 6866021"/>
                <a:gd name="connsiteX3" fmla="*/ 11187128 w 11187128"/>
                <a:gd name="connsiteY3" fmla="*/ 8021 h 6866021"/>
                <a:gd name="connsiteX4" fmla="*/ 11187128 w 11187128"/>
                <a:gd name="connsiteY4" fmla="*/ 6866021 h 6866021"/>
                <a:gd name="connsiteX5" fmla="*/ 7635036 w 11187128"/>
                <a:gd name="connsiteY5" fmla="*/ 6866021 h 6866021"/>
                <a:gd name="connsiteX6" fmla="*/ 3552092 w 11187128"/>
                <a:gd name="connsiteY6" fmla="*/ 6866021 h 6866021"/>
                <a:gd name="connsiteX7" fmla="*/ 0 w 11187128"/>
                <a:gd name="connsiteY7" fmla="*/ 6866021 h 686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87128" h="6866021">
                  <a:moveTo>
                    <a:pt x="1588447" y="0"/>
                  </a:moveTo>
                  <a:lnTo>
                    <a:pt x="5139450" y="4711"/>
                  </a:lnTo>
                  <a:lnTo>
                    <a:pt x="5140539" y="0"/>
                  </a:lnTo>
                  <a:lnTo>
                    <a:pt x="11187128" y="8021"/>
                  </a:lnTo>
                  <a:lnTo>
                    <a:pt x="11187128" y="6866021"/>
                  </a:lnTo>
                  <a:lnTo>
                    <a:pt x="7635036" y="6866021"/>
                  </a:lnTo>
                  <a:lnTo>
                    <a:pt x="3552092" y="6866021"/>
                  </a:lnTo>
                  <a:lnTo>
                    <a:pt x="0" y="6866021"/>
                  </a:lnTo>
                  <a:close/>
                </a:path>
              </a:pathLst>
            </a:cu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3942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E128937-A975-D8FD-7664-B71F4AA72669}"/>
              </a:ext>
            </a:extLst>
          </p:cNvPr>
          <p:cNvGrpSpPr/>
          <p:nvPr userDrawn="1"/>
        </p:nvGrpSpPr>
        <p:grpSpPr>
          <a:xfrm>
            <a:off x="0" y="-8022"/>
            <a:ext cx="12192000" cy="6866022"/>
            <a:chOff x="0" y="-8022"/>
            <a:chExt cx="12192000" cy="6866022"/>
          </a:xfrm>
        </p:grpSpPr>
        <p:sp>
          <p:nvSpPr>
            <p:cNvPr id="8" name="Background - Solid">
              <a:extLst>
                <a:ext uri="{FF2B5EF4-FFF2-40B4-BE49-F238E27FC236}">
                  <a16:creationId xmlns:a16="http://schemas.microsoft.com/office/drawing/2014/main" id="{CF15B74C-0297-D31C-0C16-DF4A9001EF2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bg1">
                      <a:alpha val="44000"/>
                    </a:schemeClr>
                  </a:solidFill>
                </a:rPr>
                <a:t>aa</a:t>
              </a:r>
            </a:p>
          </p:txBody>
        </p:sp>
        <p:sp>
          <p:nvSpPr>
            <p:cNvPr id="9" name="Background - Solid">
              <a:extLst>
                <a:ext uri="{FF2B5EF4-FFF2-40B4-BE49-F238E27FC236}">
                  <a16:creationId xmlns:a16="http://schemas.microsoft.com/office/drawing/2014/main" id="{939BDFE8-86BC-5C3F-37C0-8EE684C2D623}"/>
                </a:ext>
              </a:extLst>
            </p:cNvPr>
            <p:cNvSpPr/>
            <p:nvPr/>
          </p:nvSpPr>
          <p:spPr>
            <a:xfrm>
              <a:off x="4556963" y="-8022"/>
              <a:ext cx="7635036" cy="6866021"/>
            </a:xfrm>
            <a:custGeom>
              <a:avLst/>
              <a:gdLst>
                <a:gd name="connsiteX0" fmla="*/ 0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0 w 6978316"/>
                <a:gd name="connsiteY4" fmla="*/ 0 h 6858000"/>
                <a:gd name="connsiteX0" fmla="*/ 3649579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3649579 w 6978316"/>
                <a:gd name="connsiteY4" fmla="*/ 0 h 6858000"/>
                <a:gd name="connsiteX0" fmla="*/ 505326 w 6978316"/>
                <a:gd name="connsiteY0" fmla="*/ 0 h 6866021"/>
                <a:gd name="connsiteX1" fmla="*/ 6978316 w 6978316"/>
                <a:gd name="connsiteY1" fmla="*/ 8021 h 6866021"/>
                <a:gd name="connsiteX2" fmla="*/ 6978316 w 6978316"/>
                <a:gd name="connsiteY2" fmla="*/ 6866021 h 6866021"/>
                <a:gd name="connsiteX3" fmla="*/ 0 w 6978316"/>
                <a:gd name="connsiteY3" fmla="*/ 6866021 h 6866021"/>
                <a:gd name="connsiteX4" fmla="*/ 505326 w 6978316"/>
                <a:gd name="connsiteY4" fmla="*/ 0 h 6866021"/>
                <a:gd name="connsiteX0" fmla="*/ 1700463 w 8173453"/>
                <a:gd name="connsiteY0" fmla="*/ 0 h 6866021"/>
                <a:gd name="connsiteX1" fmla="*/ 8173453 w 8173453"/>
                <a:gd name="connsiteY1" fmla="*/ 8021 h 6866021"/>
                <a:gd name="connsiteX2" fmla="*/ 8173453 w 8173453"/>
                <a:gd name="connsiteY2" fmla="*/ 6866021 h 6866021"/>
                <a:gd name="connsiteX3" fmla="*/ 0 w 8173453"/>
                <a:gd name="connsiteY3" fmla="*/ 6866021 h 6866021"/>
                <a:gd name="connsiteX4" fmla="*/ 1700463 w 8173453"/>
                <a:gd name="connsiteY4" fmla="*/ 0 h 686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3453" h="6866021">
                  <a:moveTo>
                    <a:pt x="1700463" y="0"/>
                  </a:moveTo>
                  <a:lnTo>
                    <a:pt x="8173453" y="8021"/>
                  </a:lnTo>
                  <a:lnTo>
                    <a:pt x="8173453" y="6866021"/>
                  </a:lnTo>
                  <a:lnTo>
                    <a:pt x="0" y="6866021"/>
                  </a:lnTo>
                  <a:lnTo>
                    <a:pt x="170046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lt1">
                      <a:alpha val="44000"/>
                    </a:schemeClr>
                  </a:solidFill>
                </a:rPr>
                <a:t>A,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4262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E128937-A975-D8FD-7664-B71F4AA72669}"/>
              </a:ext>
            </a:extLst>
          </p:cNvPr>
          <p:cNvGrpSpPr/>
          <p:nvPr userDrawn="1"/>
        </p:nvGrpSpPr>
        <p:grpSpPr>
          <a:xfrm>
            <a:off x="0" y="-8022"/>
            <a:ext cx="12192000" cy="6866022"/>
            <a:chOff x="0" y="-8022"/>
            <a:chExt cx="12192000" cy="6866022"/>
          </a:xfrm>
        </p:grpSpPr>
        <p:sp>
          <p:nvSpPr>
            <p:cNvPr id="8" name="Background - Solid">
              <a:extLst>
                <a:ext uri="{FF2B5EF4-FFF2-40B4-BE49-F238E27FC236}">
                  <a16:creationId xmlns:a16="http://schemas.microsoft.com/office/drawing/2014/main" id="{CF15B74C-0297-D31C-0C16-DF4A9001EF2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bg1">
                      <a:alpha val="44000"/>
                    </a:schemeClr>
                  </a:solidFill>
                </a:rPr>
                <a:t>aa</a:t>
              </a:r>
            </a:p>
          </p:txBody>
        </p:sp>
        <p:sp>
          <p:nvSpPr>
            <p:cNvPr id="9" name="Background - Solid">
              <a:extLst>
                <a:ext uri="{FF2B5EF4-FFF2-40B4-BE49-F238E27FC236}">
                  <a16:creationId xmlns:a16="http://schemas.microsoft.com/office/drawing/2014/main" id="{939BDFE8-86BC-5C3F-37C0-8EE684C2D623}"/>
                </a:ext>
              </a:extLst>
            </p:cNvPr>
            <p:cNvSpPr/>
            <p:nvPr/>
          </p:nvSpPr>
          <p:spPr>
            <a:xfrm>
              <a:off x="4556963" y="-8022"/>
              <a:ext cx="7635036" cy="6866021"/>
            </a:xfrm>
            <a:custGeom>
              <a:avLst/>
              <a:gdLst>
                <a:gd name="connsiteX0" fmla="*/ 0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0 w 6978316"/>
                <a:gd name="connsiteY4" fmla="*/ 0 h 6858000"/>
                <a:gd name="connsiteX0" fmla="*/ 3649579 w 6978316"/>
                <a:gd name="connsiteY0" fmla="*/ 0 h 6858000"/>
                <a:gd name="connsiteX1" fmla="*/ 6978316 w 6978316"/>
                <a:gd name="connsiteY1" fmla="*/ 0 h 6858000"/>
                <a:gd name="connsiteX2" fmla="*/ 6978316 w 6978316"/>
                <a:gd name="connsiteY2" fmla="*/ 6858000 h 6858000"/>
                <a:gd name="connsiteX3" fmla="*/ 0 w 6978316"/>
                <a:gd name="connsiteY3" fmla="*/ 6858000 h 6858000"/>
                <a:gd name="connsiteX4" fmla="*/ 3649579 w 6978316"/>
                <a:gd name="connsiteY4" fmla="*/ 0 h 6858000"/>
                <a:gd name="connsiteX0" fmla="*/ 505326 w 6978316"/>
                <a:gd name="connsiteY0" fmla="*/ 0 h 6866021"/>
                <a:gd name="connsiteX1" fmla="*/ 6978316 w 6978316"/>
                <a:gd name="connsiteY1" fmla="*/ 8021 h 6866021"/>
                <a:gd name="connsiteX2" fmla="*/ 6978316 w 6978316"/>
                <a:gd name="connsiteY2" fmla="*/ 6866021 h 6866021"/>
                <a:gd name="connsiteX3" fmla="*/ 0 w 6978316"/>
                <a:gd name="connsiteY3" fmla="*/ 6866021 h 6866021"/>
                <a:gd name="connsiteX4" fmla="*/ 505326 w 6978316"/>
                <a:gd name="connsiteY4" fmla="*/ 0 h 6866021"/>
                <a:gd name="connsiteX0" fmla="*/ 1700463 w 8173453"/>
                <a:gd name="connsiteY0" fmla="*/ 0 h 6866021"/>
                <a:gd name="connsiteX1" fmla="*/ 8173453 w 8173453"/>
                <a:gd name="connsiteY1" fmla="*/ 8021 h 6866021"/>
                <a:gd name="connsiteX2" fmla="*/ 8173453 w 8173453"/>
                <a:gd name="connsiteY2" fmla="*/ 6866021 h 6866021"/>
                <a:gd name="connsiteX3" fmla="*/ 0 w 8173453"/>
                <a:gd name="connsiteY3" fmla="*/ 6866021 h 6866021"/>
                <a:gd name="connsiteX4" fmla="*/ 1700463 w 8173453"/>
                <a:gd name="connsiteY4" fmla="*/ 0 h 686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3453" h="6866021">
                  <a:moveTo>
                    <a:pt x="1700463" y="0"/>
                  </a:moveTo>
                  <a:lnTo>
                    <a:pt x="8173453" y="8021"/>
                  </a:lnTo>
                  <a:lnTo>
                    <a:pt x="8173453" y="6866021"/>
                  </a:lnTo>
                  <a:lnTo>
                    <a:pt x="0" y="6866021"/>
                  </a:lnTo>
                  <a:lnTo>
                    <a:pt x="170046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r>
                <a:rPr lang="en-US" dirty="0">
                  <a:solidFill>
                    <a:schemeClr val="lt1">
                      <a:alpha val="44000"/>
                    </a:schemeClr>
                  </a:solidFill>
                </a:rPr>
                <a:t>A,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42CC58A6-5F92-59CD-4A41-EC1E5CFF5758}"/>
              </a:ext>
            </a:extLst>
          </p:cNvPr>
          <p:cNvSpPr/>
          <p:nvPr userDrawn="1"/>
        </p:nvSpPr>
        <p:spPr>
          <a:xfrm rot="16200000" flipV="1">
            <a:off x="-105115" y="105115"/>
            <a:ext cx="6858000" cy="6647770"/>
          </a:xfrm>
          <a:custGeom>
            <a:avLst/>
            <a:gdLst>
              <a:gd name="connsiteX0" fmla="*/ 0 w 6858000"/>
              <a:gd name="connsiteY0" fmla="*/ 922089 h 6647770"/>
              <a:gd name="connsiteX1" fmla="*/ 0 w 6858000"/>
              <a:gd name="connsiteY1" fmla="*/ 2959412 h 6647770"/>
              <a:gd name="connsiteX2" fmla="*/ 0 w 6858000"/>
              <a:gd name="connsiteY2" fmla="*/ 4610448 h 6647770"/>
              <a:gd name="connsiteX3" fmla="*/ 0 w 6858000"/>
              <a:gd name="connsiteY3" fmla="*/ 6647770 h 6647770"/>
              <a:gd name="connsiteX4" fmla="*/ 6858000 w 6858000"/>
              <a:gd name="connsiteY4" fmla="*/ 6647770 h 6647770"/>
              <a:gd name="connsiteX5" fmla="*/ 6858000 w 6858000"/>
              <a:gd name="connsiteY5" fmla="*/ 4610448 h 6647770"/>
              <a:gd name="connsiteX6" fmla="*/ 6858000 w 6858000"/>
              <a:gd name="connsiteY6" fmla="*/ 2037322 h 6647770"/>
              <a:gd name="connsiteX7" fmla="*/ 6858000 w 6858000"/>
              <a:gd name="connsiteY7" fmla="*/ 0 h 664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6647770">
                <a:moveTo>
                  <a:pt x="0" y="922089"/>
                </a:moveTo>
                <a:lnTo>
                  <a:pt x="0" y="2959412"/>
                </a:lnTo>
                <a:lnTo>
                  <a:pt x="0" y="4610448"/>
                </a:lnTo>
                <a:lnTo>
                  <a:pt x="0" y="6647770"/>
                </a:lnTo>
                <a:lnTo>
                  <a:pt x="6858000" y="6647770"/>
                </a:lnTo>
                <a:lnTo>
                  <a:pt x="6858000" y="4610448"/>
                </a:lnTo>
                <a:lnTo>
                  <a:pt x="6858000" y="2037322"/>
                </a:lnTo>
                <a:lnTo>
                  <a:pt x="6858000" y="0"/>
                </a:lnTo>
                <a:close/>
              </a:path>
            </a:pathLst>
          </a:cu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A41A12-ADBE-1BF1-2D37-B1E6CCA9FFE3}"/>
              </a:ext>
            </a:extLst>
          </p:cNvPr>
          <p:cNvGrpSpPr/>
          <p:nvPr userDrawn="1"/>
        </p:nvGrpSpPr>
        <p:grpSpPr>
          <a:xfrm>
            <a:off x="4955038" y="0"/>
            <a:ext cx="1677492" cy="6858000"/>
            <a:chOff x="3697870" y="0"/>
            <a:chExt cx="1677492" cy="685800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A192462-0168-F4E9-A5A5-90C5309E4D5B}"/>
                </a:ext>
              </a:extLst>
            </p:cNvPr>
            <p:cNvSpPr/>
            <p:nvPr/>
          </p:nvSpPr>
          <p:spPr>
            <a:xfrm>
              <a:off x="3697870" y="0"/>
              <a:ext cx="1360969" cy="6858000"/>
            </a:xfrm>
            <a:custGeom>
              <a:avLst/>
              <a:gdLst>
                <a:gd name="connsiteX0" fmla="*/ 903769 w 1360969"/>
                <a:gd name="connsiteY0" fmla="*/ 0 h 6858000"/>
                <a:gd name="connsiteX1" fmla="*/ 1360969 w 1360969"/>
                <a:gd name="connsiteY1" fmla="*/ 0 h 6858000"/>
                <a:gd name="connsiteX2" fmla="*/ 457200 w 1360969"/>
                <a:gd name="connsiteY2" fmla="*/ 6858000 h 6858000"/>
                <a:gd name="connsiteX3" fmla="*/ 0 w 1360969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0969" h="6858000">
                  <a:moveTo>
                    <a:pt x="903769" y="0"/>
                  </a:moveTo>
                  <a:lnTo>
                    <a:pt x="1360969" y="0"/>
                  </a:lnTo>
                  <a:lnTo>
                    <a:pt x="457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5211459F-DC91-A240-289F-9B885AAF5CD6}"/>
                </a:ext>
              </a:extLst>
            </p:cNvPr>
            <p:cNvSpPr/>
            <p:nvPr/>
          </p:nvSpPr>
          <p:spPr>
            <a:xfrm>
              <a:off x="4014393" y="0"/>
              <a:ext cx="1360969" cy="6858000"/>
            </a:xfrm>
            <a:custGeom>
              <a:avLst/>
              <a:gdLst>
                <a:gd name="connsiteX0" fmla="*/ 903769 w 1360969"/>
                <a:gd name="connsiteY0" fmla="*/ 0 h 6858000"/>
                <a:gd name="connsiteX1" fmla="*/ 1360969 w 1360969"/>
                <a:gd name="connsiteY1" fmla="*/ 0 h 6858000"/>
                <a:gd name="connsiteX2" fmla="*/ 457200 w 1360969"/>
                <a:gd name="connsiteY2" fmla="*/ 6858000 h 6858000"/>
                <a:gd name="connsiteX3" fmla="*/ 0 w 1360969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0969" h="6858000">
                  <a:moveTo>
                    <a:pt x="903769" y="0"/>
                  </a:moveTo>
                  <a:lnTo>
                    <a:pt x="1360969" y="0"/>
                  </a:lnTo>
                  <a:lnTo>
                    <a:pt x="457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25386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>
            <a:extLst>
              <a:ext uri="{FF2B5EF4-FFF2-40B4-BE49-F238E27FC236}">
                <a16:creationId xmlns:a16="http://schemas.microsoft.com/office/drawing/2014/main" id="{43B06EB3-25D1-F725-9205-EF747398575A}"/>
              </a:ext>
            </a:extLst>
          </p:cNvPr>
          <p:cNvSpPr/>
          <p:nvPr userDrawn="1"/>
        </p:nvSpPr>
        <p:spPr>
          <a:xfrm rot="10800000" flipV="1">
            <a:off x="0" y="3451034"/>
            <a:ext cx="12192000" cy="3428999"/>
          </a:xfrm>
          <a:custGeom>
            <a:avLst/>
            <a:gdLst>
              <a:gd name="connsiteX0" fmla="*/ 6858000 w 6858000"/>
              <a:gd name="connsiteY0" fmla="*/ 1978237 h 1978237"/>
              <a:gd name="connsiteX1" fmla="*/ 6858000 w 6858000"/>
              <a:gd name="connsiteY1" fmla="*/ 0 h 1978237"/>
              <a:gd name="connsiteX2" fmla="*/ 0 w 6858000"/>
              <a:gd name="connsiteY2" fmla="*/ 922089 h 1978237"/>
              <a:gd name="connsiteX3" fmla="*/ 0 w 6858000"/>
              <a:gd name="connsiteY3" fmla="*/ 1978237 h 1978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978237">
                <a:moveTo>
                  <a:pt x="6858000" y="1978237"/>
                </a:moveTo>
                <a:lnTo>
                  <a:pt x="6858000" y="0"/>
                </a:lnTo>
                <a:lnTo>
                  <a:pt x="0" y="922089"/>
                </a:lnTo>
                <a:lnTo>
                  <a:pt x="0" y="1978237"/>
                </a:lnTo>
                <a:close/>
              </a:path>
            </a:pathLst>
          </a:cu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8892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8B09E638-0A33-BD8D-EF9D-131CE48AEBEC}"/>
              </a:ext>
            </a:extLst>
          </p:cNvPr>
          <p:cNvGrpSpPr/>
          <p:nvPr userDrawn="1"/>
        </p:nvGrpSpPr>
        <p:grpSpPr>
          <a:xfrm>
            <a:off x="0" y="-8022"/>
            <a:ext cx="12192000" cy="6866022"/>
            <a:chOff x="0" y="-8022"/>
            <a:chExt cx="12192000" cy="6866022"/>
          </a:xfrm>
        </p:grpSpPr>
        <p:sp>
          <p:nvSpPr>
            <p:cNvPr id="10" name="Background - Solid">
              <a:extLst>
                <a:ext uri="{FF2B5EF4-FFF2-40B4-BE49-F238E27FC236}">
                  <a16:creationId xmlns:a16="http://schemas.microsoft.com/office/drawing/2014/main" id="{925977B4-C602-8D6C-6A7B-44C765AFA374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0D2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6B00819-6582-02B3-44BE-19D404134C3B}"/>
                </a:ext>
              </a:extLst>
            </p:cNvPr>
            <p:cNvGrpSpPr/>
            <p:nvPr/>
          </p:nvGrpSpPr>
          <p:grpSpPr>
            <a:xfrm>
              <a:off x="2021885" y="-8022"/>
              <a:ext cx="10170115" cy="174639"/>
              <a:chOff x="2021885" y="-1574"/>
              <a:chExt cx="10417812" cy="268274"/>
            </a:xfrm>
          </p:grpSpPr>
          <p:sp>
            <p:nvSpPr>
              <p:cNvPr id="13" name="Background - Solid">
                <a:extLst>
                  <a:ext uri="{FF2B5EF4-FFF2-40B4-BE49-F238E27FC236}">
                    <a16:creationId xmlns:a16="http://schemas.microsoft.com/office/drawing/2014/main" id="{9FB2979B-AE0E-62B0-58A6-392A9C8CCD2F}"/>
                  </a:ext>
                </a:extLst>
              </p:cNvPr>
              <p:cNvSpPr/>
              <p:nvPr/>
            </p:nvSpPr>
            <p:spPr>
              <a:xfrm>
                <a:off x="2021885" y="-1574"/>
                <a:ext cx="1492331" cy="268274"/>
              </a:xfrm>
              <a:prstGeom prst="rect">
                <a:avLst/>
              </a:prstGeom>
              <a:solidFill>
                <a:srgbClr val="EBB7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4" name="Background - Solid">
                <a:extLst>
                  <a:ext uri="{FF2B5EF4-FFF2-40B4-BE49-F238E27FC236}">
                    <a16:creationId xmlns:a16="http://schemas.microsoft.com/office/drawing/2014/main" id="{0EBC0316-CA05-9603-7866-F1A262439FBD}"/>
                  </a:ext>
                </a:extLst>
              </p:cNvPr>
              <p:cNvSpPr/>
              <p:nvPr/>
            </p:nvSpPr>
            <p:spPr>
              <a:xfrm>
                <a:off x="3509465" y="-1574"/>
                <a:ext cx="1492331" cy="268274"/>
              </a:xfrm>
              <a:prstGeom prst="rect">
                <a:avLst/>
              </a:prstGeom>
              <a:solidFill>
                <a:srgbClr val="407C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5" name="Background - Solid">
                <a:extLst>
                  <a:ext uri="{FF2B5EF4-FFF2-40B4-BE49-F238E27FC236}">
                    <a16:creationId xmlns:a16="http://schemas.microsoft.com/office/drawing/2014/main" id="{96467501-7C6D-9B2A-32CC-C6DB1BCABFE0}"/>
                  </a:ext>
                </a:extLst>
              </p:cNvPr>
              <p:cNvSpPr/>
              <p:nvPr/>
            </p:nvSpPr>
            <p:spPr>
              <a:xfrm>
                <a:off x="4997045" y="-1574"/>
                <a:ext cx="1492331" cy="268274"/>
              </a:xfrm>
              <a:prstGeom prst="rect">
                <a:avLst/>
              </a:prstGeom>
              <a:solidFill>
                <a:srgbClr val="FF5C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6" name="Background - Solid">
                <a:extLst>
                  <a:ext uri="{FF2B5EF4-FFF2-40B4-BE49-F238E27FC236}">
                    <a16:creationId xmlns:a16="http://schemas.microsoft.com/office/drawing/2014/main" id="{5DB76155-84F0-6B4E-A668-0536B0368C61}"/>
                  </a:ext>
                </a:extLst>
              </p:cNvPr>
              <p:cNvSpPr/>
              <p:nvPr/>
            </p:nvSpPr>
            <p:spPr>
              <a:xfrm>
                <a:off x="6484625" y="-1574"/>
                <a:ext cx="1492331" cy="268274"/>
              </a:xfrm>
              <a:prstGeom prst="rect">
                <a:avLst/>
              </a:prstGeom>
              <a:solidFill>
                <a:srgbClr val="B3B2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7" name="Background - Solid">
                <a:extLst>
                  <a:ext uri="{FF2B5EF4-FFF2-40B4-BE49-F238E27FC236}">
                    <a16:creationId xmlns:a16="http://schemas.microsoft.com/office/drawing/2014/main" id="{73B0FF6D-C58F-FF65-7AD1-33FA94AE3B0B}"/>
                  </a:ext>
                </a:extLst>
              </p:cNvPr>
              <p:cNvSpPr/>
              <p:nvPr/>
            </p:nvSpPr>
            <p:spPr>
              <a:xfrm>
                <a:off x="7972205" y="-1574"/>
                <a:ext cx="1492331" cy="268274"/>
              </a:xfrm>
              <a:prstGeom prst="rect">
                <a:avLst/>
              </a:prstGeom>
              <a:solidFill>
                <a:srgbClr val="7A26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8" name="Background - Solid">
                <a:extLst>
                  <a:ext uri="{FF2B5EF4-FFF2-40B4-BE49-F238E27FC236}">
                    <a16:creationId xmlns:a16="http://schemas.microsoft.com/office/drawing/2014/main" id="{A9343DE0-2EBE-8273-5320-5F1D6DF68CF2}"/>
                  </a:ext>
                </a:extLst>
              </p:cNvPr>
              <p:cNvSpPr/>
              <p:nvPr/>
            </p:nvSpPr>
            <p:spPr>
              <a:xfrm>
                <a:off x="9459785" y="-1574"/>
                <a:ext cx="1492331" cy="268274"/>
              </a:xfrm>
              <a:prstGeom prst="rect">
                <a:avLst/>
              </a:prstGeom>
              <a:solidFill>
                <a:srgbClr val="00AC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  <p:sp>
            <p:nvSpPr>
              <p:cNvPr id="19" name="Background - Solid">
                <a:extLst>
                  <a:ext uri="{FF2B5EF4-FFF2-40B4-BE49-F238E27FC236}">
                    <a16:creationId xmlns:a16="http://schemas.microsoft.com/office/drawing/2014/main" id="{8EE76241-EBA0-A575-0972-5B5AE92858AD}"/>
                  </a:ext>
                </a:extLst>
              </p:cNvPr>
              <p:cNvSpPr/>
              <p:nvPr/>
            </p:nvSpPr>
            <p:spPr>
              <a:xfrm>
                <a:off x="10947366" y="-1574"/>
                <a:ext cx="1492331" cy="268274"/>
              </a:xfrm>
              <a:prstGeom prst="rect">
                <a:avLst/>
              </a:prstGeom>
              <a:solidFill>
                <a:srgbClr val="0033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4685" tIns="47343" rIns="94685" bIns="47343" rtlCol="0" anchor="ctr"/>
              <a:lstStyle/>
              <a:p>
                <a:pPr algn="ctr"/>
                <a:endParaRPr lang="en-US" dirty="0">
                  <a:solidFill>
                    <a:schemeClr val="lt1">
                      <a:alpha val="44000"/>
                    </a:schemeClr>
                  </a:solidFill>
                </a:endParaRPr>
              </a:p>
            </p:txBody>
          </p:sp>
        </p:grp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83EC3B6-C230-EE19-4CEC-39EBF76C2AAC}"/>
                </a:ext>
              </a:extLst>
            </p:cNvPr>
            <p:cNvSpPr/>
            <p:nvPr/>
          </p:nvSpPr>
          <p:spPr>
            <a:xfrm>
              <a:off x="0" y="-8022"/>
              <a:ext cx="2193729" cy="6866022"/>
            </a:xfrm>
            <a:custGeom>
              <a:avLst/>
              <a:gdLst>
                <a:gd name="connsiteX0" fmla="*/ 372975 w 2193729"/>
                <a:gd name="connsiteY0" fmla="*/ 0 h 6866022"/>
                <a:gd name="connsiteX1" fmla="*/ 1774629 w 2193729"/>
                <a:gd name="connsiteY1" fmla="*/ 0 h 6866022"/>
                <a:gd name="connsiteX2" fmla="*/ 2193729 w 2193729"/>
                <a:gd name="connsiteY2" fmla="*/ 0 h 6866022"/>
                <a:gd name="connsiteX3" fmla="*/ 605282 w 2193729"/>
                <a:gd name="connsiteY3" fmla="*/ 6866021 h 6866022"/>
                <a:gd name="connsiteX4" fmla="*/ 469279 w 2193729"/>
                <a:gd name="connsiteY4" fmla="*/ 6865841 h 6866022"/>
                <a:gd name="connsiteX5" fmla="*/ 469279 w 2193729"/>
                <a:gd name="connsiteY5" fmla="*/ 6866022 h 6866022"/>
                <a:gd name="connsiteX6" fmla="*/ 0 w 2193729"/>
                <a:gd name="connsiteY6" fmla="*/ 6866022 h 6866022"/>
                <a:gd name="connsiteX7" fmla="*/ 0 w 2193729"/>
                <a:gd name="connsiteY7" fmla="*/ 8022 h 6866022"/>
                <a:gd name="connsiteX8" fmla="*/ 372975 w 2193729"/>
                <a:gd name="connsiteY8" fmla="*/ 8022 h 68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3729" h="6866022">
                  <a:moveTo>
                    <a:pt x="372975" y="0"/>
                  </a:moveTo>
                  <a:lnTo>
                    <a:pt x="1774629" y="0"/>
                  </a:lnTo>
                  <a:lnTo>
                    <a:pt x="2193729" y="0"/>
                  </a:lnTo>
                  <a:lnTo>
                    <a:pt x="605282" y="6866021"/>
                  </a:lnTo>
                  <a:lnTo>
                    <a:pt x="469279" y="6865841"/>
                  </a:lnTo>
                  <a:lnTo>
                    <a:pt x="469279" y="6866022"/>
                  </a:lnTo>
                  <a:lnTo>
                    <a:pt x="0" y="6866022"/>
                  </a:lnTo>
                  <a:lnTo>
                    <a:pt x="0" y="8022"/>
                  </a:lnTo>
                  <a:lnTo>
                    <a:pt x="372975" y="80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>
                    <a:alpha val="44000"/>
                  </a:schemeClr>
                </a:solidFill>
              </a:endParaRPr>
            </a:p>
          </p:txBody>
        </p:sp>
      </p:grp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5002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- Solid">
            <a:extLst>
              <a:ext uri="{FF2B5EF4-FFF2-40B4-BE49-F238E27FC236}">
                <a16:creationId xmlns:a16="http://schemas.microsoft.com/office/drawing/2014/main" id="{925977B4-C602-8D6C-6A7B-44C765AFA37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583EC3B6-C230-EE19-4CEC-39EBF76C2AAC}"/>
              </a:ext>
            </a:extLst>
          </p:cNvPr>
          <p:cNvSpPr/>
          <p:nvPr/>
        </p:nvSpPr>
        <p:spPr>
          <a:xfrm>
            <a:off x="0" y="-8022"/>
            <a:ext cx="2193729" cy="6866022"/>
          </a:xfrm>
          <a:custGeom>
            <a:avLst/>
            <a:gdLst>
              <a:gd name="connsiteX0" fmla="*/ 372975 w 2193729"/>
              <a:gd name="connsiteY0" fmla="*/ 0 h 6866022"/>
              <a:gd name="connsiteX1" fmla="*/ 1774629 w 2193729"/>
              <a:gd name="connsiteY1" fmla="*/ 0 h 6866022"/>
              <a:gd name="connsiteX2" fmla="*/ 2193729 w 2193729"/>
              <a:gd name="connsiteY2" fmla="*/ 0 h 6866022"/>
              <a:gd name="connsiteX3" fmla="*/ 605282 w 2193729"/>
              <a:gd name="connsiteY3" fmla="*/ 6866021 h 6866022"/>
              <a:gd name="connsiteX4" fmla="*/ 469279 w 2193729"/>
              <a:gd name="connsiteY4" fmla="*/ 6865841 h 6866022"/>
              <a:gd name="connsiteX5" fmla="*/ 469279 w 2193729"/>
              <a:gd name="connsiteY5" fmla="*/ 6866022 h 6866022"/>
              <a:gd name="connsiteX6" fmla="*/ 0 w 2193729"/>
              <a:gd name="connsiteY6" fmla="*/ 6866022 h 6866022"/>
              <a:gd name="connsiteX7" fmla="*/ 0 w 2193729"/>
              <a:gd name="connsiteY7" fmla="*/ 8022 h 6866022"/>
              <a:gd name="connsiteX8" fmla="*/ 372975 w 2193729"/>
              <a:gd name="connsiteY8" fmla="*/ 8022 h 6866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3729" h="6866022">
                <a:moveTo>
                  <a:pt x="372975" y="0"/>
                </a:moveTo>
                <a:lnTo>
                  <a:pt x="1774629" y="0"/>
                </a:lnTo>
                <a:lnTo>
                  <a:pt x="2193729" y="0"/>
                </a:lnTo>
                <a:lnTo>
                  <a:pt x="605282" y="6866021"/>
                </a:lnTo>
                <a:lnTo>
                  <a:pt x="469279" y="6865841"/>
                </a:lnTo>
                <a:lnTo>
                  <a:pt x="469279" y="6866022"/>
                </a:lnTo>
                <a:lnTo>
                  <a:pt x="0" y="6866022"/>
                </a:lnTo>
                <a:lnTo>
                  <a:pt x="0" y="8022"/>
                </a:lnTo>
                <a:lnTo>
                  <a:pt x="372975" y="80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7649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7FCA3B97-2395-2E49-3664-1A72163C8181}"/>
              </a:ext>
            </a:extLst>
          </p:cNvPr>
          <p:cNvSpPr/>
          <p:nvPr userDrawn="1"/>
        </p:nvSpPr>
        <p:spPr>
          <a:xfrm rot="10800000" flipV="1">
            <a:off x="0" y="3517136"/>
            <a:ext cx="12192000" cy="3428999"/>
          </a:xfrm>
          <a:custGeom>
            <a:avLst/>
            <a:gdLst>
              <a:gd name="connsiteX0" fmla="*/ 6858000 w 6858000"/>
              <a:gd name="connsiteY0" fmla="*/ 1978237 h 1978237"/>
              <a:gd name="connsiteX1" fmla="*/ 6858000 w 6858000"/>
              <a:gd name="connsiteY1" fmla="*/ 0 h 1978237"/>
              <a:gd name="connsiteX2" fmla="*/ 0 w 6858000"/>
              <a:gd name="connsiteY2" fmla="*/ 922089 h 1978237"/>
              <a:gd name="connsiteX3" fmla="*/ 0 w 6858000"/>
              <a:gd name="connsiteY3" fmla="*/ 1978237 h 1978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978237">
                <a:moveTo>
                  <a:pt x="6858000" y="1978237"/>
                </a:moveTo>
                <a:lnTo>
                  <a:pt x="6858000" y="0"/>
                </a:lnTo>
                <a:lnTo>
                  <a:pt x="0" y="922089"/>
                </a:lnTo>
                <a:lnTo>
                  <a:pt x="0" y="1978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r>
              <a:rPr lang="en-US" dirty="0">
                <a:solidFill>
                  <a:schemeClr val="lt1">
                    <a:alpha val="44000"/>
                  </a:schemeClr>
                </a:solidFill>
              </a:rPr>
              <a:t>m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1962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7697" y="6397623"/>
            <a:ext cx="1378746" cy="4025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rgbClr val="00338D"/>
                </a:solidFill>
              </a:rPr>
              <a:pPr/>
              <a:t>‹#›</a:t>
            </a:fld>
            <a:endParaRPr lang="en-US" sz="1400" dirty="0">
              <a:solidFill>
                <a:srgbClr val="00338D"/>
              </a:solidFill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67D4130B-DFAC-123A-76F8-6446387BA6A8}"/>
              </a:ext>
            </a:extLst>
          </p:cNvPr>
          <p:cNvSpPr/>
          <p:nvPr userDrawn="1"/>
        </p:nvSpPr>
        <p:spPr>
          <a:xfrm>
            <a:off x="3274927" y="-8022"/>
            <a:ext cx="5642146" cy="6866021"/>
          </a:xfrm>
          <a:custGeom>
            <a:avLst/>
            <a:gdLst>
              <a:gd name="connsiteX0" fmla="*/ 1588447 w 5642146"/>
              <a:gd name="connsiteY0" fmla="*/ 0 h 6866021"/>
              <a:gd name="connsiteX1" fmla="*/ 5642146 w 5642146"/>
              <a:gd name="connsiteY1" fmla="*/ 5377 h 6866021"/>
              <a:gd name="connsiteX2" fmla="*/ 4054943 w 5642146"/>
              <a:gd name="connsiteY2" fmla="*/ 6866021 h 6866021"/>
              <a:gd name="connsiteX3" fmla="*/ 0 w 5642146"/>
              <a:gd name="connsiteY3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2146" h="6866021">
                <a:moveTo>
                  <a:pt x="1588447" y="0"/>
                </a:moveTo>
                <a:lnTo>
                  <a:pt x="5642146" y="5377"/>
                </a:lnTo>
                <a:lnTo>
                  <a:pt x="4054943" y="6866021"/>
                </a:lnTo>
                <a:lnTo>
                  <a:pt x="0" y="6866021"/>
                </a:lnTo>
                <a:close/>
              </a:path>
            </a:pathLst>
          </a:custGeom>
          <a:solidFill>
            <a:srgbClr val="00338D">
              <a:alpha val="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0771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A707A-6BF3-7F41-BF25-D121B80B6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E18DA7-EB25-0A4D-AFFE-9F109FA79F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112EB3CF-D9C7-6A43-9572-2FD29EB93B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8045D26-8C33-294E-98EE-70FFFD7130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0991150-1FA1-B94F-9E36-C0849AD9E98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C54B4AE-E7BB-FE47-8A11-B7A39D99E298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3C4CAAAC-B9EF-4240-A7A1-7A5F45378BB7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126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1E0CEC9-9D2F-5544-87AE-66A08FEBD4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0818" y="346722"/>
            <a:ext cx="9144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CAD6617-8761-4247-A702-E4F2A27BAE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163" y="1392238"/>
            <a:ext cx="5684837" cy="4879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112EB3CF-D9C7-6A43-9572-2FD29EB93B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8045D26-8C33-294E-98EE-70FFFD7130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0991150-1FA1-B94F-9E36-C0849AD9E98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C54B4AE-E7BB-FE47-8A11-B7A39D99E298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3C4CAAAC-B9EF-4240-A7A1-7A5F45378BB7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6BCC36-4B75-9949-9C55-D7B729C66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1193" y="450565"/>
            <a:ext cx="10515600" cy="70671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1925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314D1A4-B8A5-DF79-B9CC-D092E0A05D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6000" y="0"/>
            <a:ext cx="2286000" cy="2286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EF5A5B-8A75-DC12-FF52-622110DC1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0" y="4572000"/>
            <a:ext cx="2286000" cy="228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7298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3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3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338D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399" y="5613399"/>
            <a:ext cx="3036958" cy="88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1029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1E0CEC9-9D2F-5544-87AE-66A08FEBD4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0818" y="346722"/>
            <a:ext cx="9144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CAD6617-8761-4247-A702-E4F2A27BAE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163" y="1392238"/>
            <a:ext cx="5684837" cy="4879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112EB3CF-D9C7-6A43-9572-2FD29EB93B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8045D26-8C33-294E-98EE-70FFFD7130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0991150-1FA1-B94F-9E36-C0849AD9E98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C54B4AE-E7BB-FE47-8A11-B7A39D99E298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3C4CAAAC-B9EF-4240-A7A1-7A5F45378BB7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D1A8763-65A3-F047-804A-2CB08763CBB5}"/>
              </a:ext>
            </a:extLst>
          </p:cNvPr>
          <p:cNvCxnSpPr>
            <a:cxnSpLocks/>
          </p:cNvCxnSpPr>
          <p:nvPr userDrawn="1"/>
        </p:nvCxnSpPr>
        <p:spPr>
          <a:xfrm>
            <a:off x="1529556" y="1063681"/>
            <a:ext cx="27432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E16BCC36-4B75-9949-9C55-D7B729C66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1193" y="450565"/>
            <a:ext cx="10515600" cy="70671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92519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BB8F37-0E51-C443-92E6-10DF3612109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5A6B55DA-FCD9-A84C-9BCE-A69F52E4EE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4315B66-EBD7-0A42-ACB2-9E41FC05845F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668BA2A-274A-4D46-995B-C2A36B15C76A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AF04690-718A-5840-8633-94801BEDE96B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19">
            <a:extLst>
              <a:ext uri="{FF2B5EF4-FFF2-40B4-BE49-F238E27FC236}">
                <a16:creationId xmlns:a16="http://schemas.microsoft.com/office/drawing/2014/main" id="{0FBA4552-0C65-DD4B-AC3A-C53B06E838B2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D5F0FFC-64E5-984E-8312-ADD1A478E1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5755" y="1269612"/>
            <a:ext cx="4343884" cy="4830763"/>
          </a:xfrm>
          <a:ln w="28575">
            <a:solidFill>
              <a:schemeClr val="accent2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0C04F88-9FFE-6240-A06C-F03D42D74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0945393-5477-1243-A015-0E69F058B0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269612"/>
            <a:ext cx="5354255" cy="49073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36219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4981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9337BEC2-1448-DD4F-8F95-1A8A3533DA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410" y="5841999"/>
            <a:ext cx="2208808" cy="644972"/>
          </a:xfrm>
          <a:prstGeom prst="rect">
            <a:avLst/>
          </a:prstGeom>
        </p:spPr>
      </p:pic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E4B04884-5587-E646-B95E-69F79936C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088" y="5938711"/>
            <a:ext cx="2810790" cy="451549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2344E1-B1E6-BC45-8AC1-C7ECFD9F89C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759968" y="6164485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161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F52DB2-152F-DB49-A029-8F93B7496642}"/>
              </a:ext>
            </a:extLst>
          </p:cNvPr>
          <p:cNvCxnSpPr/>
          <p:nvPr userDrawn="1"/>
        </p:nvCxnSpPr>
        <p:spPr>
          <a:xfrm>
            <a:off x="1593449" y="4763260"/>
            <a:ext cx="803360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5804DBA-ADE4-5449-A882-1A32A1846A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3999" y="4183822"/>
            <a:ext cx="5953760" cy="579438"/>
          </a:xfrm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04408AF-60A3-844D-8C70-9844104855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999" y="4890262"/>
            <a:ext cx="4310063" cy="51816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1" name="Picture 30" descr="A picture containing glass&#10;&#10;Description automatically generated">
            <a:extLst>
              <a:ext uri="{FF2B5EF4-FFF2-40B4-BE49-F238E27FC236}">
                <a16:creationId xmlns:a16="http://schemas.microsoft.com/office/drawing/2014/main" id="{C77B798E-B00B-BE4F-B652-3DEDF49E7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14D3A10-B393-6342-BAA0-AC888CDFA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410" y="5841999"/>
            <a:ext cx="2208808" cy="644972"/>
          </a:xfrm>
          <a:prstGeom prst="rect">
            <a:avLst/>
          </a:prstGeom>
        </p:spPr>
      </p:pic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A7750DF2-3393-5544-8CED-BA62DB2BCA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088" y="5938711"/>
            <a:ext cx="2810790" cy="45154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4476AB-9595-3945-82FD-3FFD7BA4E6E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759968" y="6164485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84971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4B313-304E-1544-812E-B26E845B4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3999" y="1244601"/>
            <a:ext cx="764981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C7ADAA-28AA-3746-BBED-0A52E4A39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478"/>
            <a:ext cx="4572000" cy="7769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A picture containing glass&#10;&#10;Description automatically generated">
            <a:extLst>
              <a:ext uri="{FF2B5EF4-FFF2-40B4-BE49-F238E27FC236}">
                <a16:creationId xmlns:a16="http://schemas.microsoft.com/office/drawing/2014/main" id="{AB5113BD-7857-7644-9348-F00190265A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44394">
            <a:off x="-2415208" y="103180"/>
            <a:ext cx="3932220" cy="4034800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9337BEC2-1448-DD4F-8F95-1A8A3533DA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410" y="5841999"/>
            <a:ext cx="2208808" cy="644972"/>
          </a:xfrm>
          <a:prstGeom prst="rect">
            <a:avLst/>
          </a:prstGeom>
        </p:spPr>
      </p:pic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E4B04884-5587-E646-B95E-69F79936C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088" y="5938711"/>
            <a:ext cx="2810790" cy="451549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2344E1-B1E6-BC45-8AC1-C7ECFD9F89C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759968" y="6164485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9757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287B9AC-07B9-F245-A329-1B92B71C0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8" y="349353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991874-8CE8-5F47-8EF3-03585FB94A82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9BC20C9-6EF0-5442-ACAB-2CF985941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8" name="Picture 17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BBF532C8-FF84-A542-999E-3EFDE15AD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A72F3E-1932-A54E-A80A-FBE7218B1B06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F73B7E7A-E455-B042-81D7-2FAA43EACBC8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E043BEB-992B-3E4E-ACC5-E80A78853D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6528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230E48-E98F-3B4A-B035-286A8E491E1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3CD42D-FF1A-0C47-8231-7E899959E7A0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ABA9C3-B604-9240-A0AD-A85DB7C7F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3" name="Picture 12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C30ABBF-2E74-FC4C-B25D-B2CE07E7D2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5AFF672-4880-0248-871D-56B0BED9A01F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9">
            <a:extLst>
              <a:ext uri="{FF2B5EF4-FFF2-40B4-BE49-F238E27FC236}">
                <a16:creationId xmlns:a16="http://schemas.microsoft.com/office/drawing/2014/main" id="{0F46DA33-1B5C-0B4A-A918-EB6397868ADB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4C3AC-72BD-E543-B9D2-0ECB6D607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8E4F99F-BC94-DA4B-940F-63D0F0D9F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331088"/>
            <a:ext cx="5354255" cy="4845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68836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9643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D5F0FFC-64E5-984E-8312-ADD1A478E1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5755" y="1269612"/>
            <a:ext cx="4343884" cy="4830763"/>
          </a:xfrm>
          <a:ln w="28575">
            <a:solidFill>
              <a:schemeClr val="accent2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C7AB8A7-C066-5E41-BBDA-CCF82A34A4B4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ABBF3-8D3A-8048-B567-9E8CFBCA8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527" y="6430237"/>
            <a:ext cx="2100033" cy="337367"/>
          </a:xfrm>
          <a:prstGeom prst="rect">
            <a:avLst/>
          </a:prstGeom>
        </p:spPr>
      </p:pic>
      <p:pic>
        <p:nvPicPr>
          <p:cNvPr id="14" name="Picture 13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AD5E29FE-C5B9-8F49-A5F7-DB5CCE1CC9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090" y="6397623"/>
            <a:ext cx="1378746" cy="402594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9DE7CCE-6DF5-A240-9813-A2DDD35406D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709972" y="6598920"/>
            <a:ext cx="365760" cy="0"/>
          </a:xfrm>
          <a:prstGeom prst="line">
            <a:avLst/>
          </a:prstGeom>
          <a:ln w="22225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9">
            <a:extLst>
              <a:ext uri="{FF2B5EF4-FFF2-40B4-BE49-F238E27FC236}">
                <a16:creationId xmlns:a16="http://schemas.microsoft.com/office/drawing/2014/main" id="{90F736FC-6279-9244-87AC-84BC75B260D6}"/>
              </a:ext>
            </a:extLst>
          </p:cNvPr>
          <p:cNvSpPr txBox="1">
            <a:spLocks/>
          </p:cNvSpPr>
          <p:nvPr userDrawn="1"/>
        </p:nvSpPr>
        <p:spPr>
          <a:xfrm>
            <a:off x="253705" y="6364039"/>
            <a:ext cx="114808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910C12B-5EB3-0B49-BCE4-52470ECDA2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D13469-A7F6-7043-AAA8-D66315A3E1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818" y="1269612"/>
            <a:ext cx="5354255" cy="49073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4702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 - Campaign 100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8442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36D0290-D344-59A7-3676-4BD06B9956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0399" y="1244601"/>
            <a:ext cx="7659757" cy="2387600"/>
          </a:xfrm>
        </p:spPr>
        <p:txBody>
          <a:bodyPr anchor="ctr">
            <a:normAutofit/>
          </a:bodyPr>
          <a:lstStyle>
            <a:lvl1pPr algn="l">
              <a:defRPr sz="5400" b="1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F42C7ED-03DB-B4BE-2EB5-A9BF582C85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3632200"/>
            <a:ext cx="6360160" cy="746125"/>
          </a:xfrm>
        </p:spPr>
        <p:txBody>
          <a:bodyPr/>
          <a:lstStyle>
            <a:lvl1pPr marL="0" indent="0">
              <a:buNone/>
              <a:defRPr>
                <a:solidFill>
                  <a:srgbClr val="00338D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AD4C1B-2D3C-1536-3381-80862091B0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6000" y="0"/>
            <a:ext cx="2286000" cy="2286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CFA580D-9CA5-7F7E-87AE-9083B0D675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0" y="4572000"/>
            <a:ext cx="2286000" cy="2286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74FED4-16E6-269E-D243-69847E91A8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399" y="5613399"/>
            <a:ext cx="3036958" cy="88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79981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lte Slide - Cama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88696" y="4133613"/>
            <a:ext cx="5075683" cy="889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188AC8-FAC3-1147-B29D-05BA49105C15}"/>
              </a:ext>
            </a:extLst>
          </p:cNvPr>
          <p:cNvCxnSpPr/>
          <p:nvPr userDrawn="1"/>
        </p:nvCxnSpPr>
        <p:spPr>
          <a:xfrm>
            <a:off x="8773248" y="5228283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2730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-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2139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lte Slide - Cama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88696" y="4133613"/>
            <a:ext cx="5075683" cy="889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188AC8-FAC3-1147-B29D-05BA49105C15}"/>
              </a:ext>
            </a:extLst>
          </p:cNvPr>
          <p:cNvCxnSpPr/>
          <p:nvPr userDrawn="1"/>
        </p:nvCxnSpPr>
        <p:spPr>
          <a:xfrm>
            <a:off x="8773248" y="5228283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807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op Bar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7211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64E09D-EF31-294B-A40E-D3A58DED8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712" y="5053063"/>
            <a:ext cx="1956418" cy="11398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600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631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spc="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2FFF44-DBF6-4F9F-9F70-A48E8AF8336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30213" y="1146175"/>
            <a:ext cx="11337925" cy="4859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32527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30AB2-F1E8-9641-9B7E-11B57A53B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4081" y="1327684"/>
            <a:ext cx="3724915" cy="234297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3"/>
            <a:ext cx="4375150" cy="117194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18" y="417404"/>
            <a:ext cx="1966916" cy="57434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C40AB8-98C1-0C42-B5FD-48529EB36ABB}"/>
              </a:ext>
            </a:extLst>
          </p:cNvPr>
          <p:cNvCxnSpPr/>
          <p:nvPr userDrawn="1"/>
        </p:nvCxnSpPr>
        <p:spPr>
          <a:xfrm>
            <a:off x="8773248" y="5290049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69942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lte Slide - Cama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88696" y="4133613"/>
            <a:ext cx="5075683" cy="889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4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38963" y="5852207"/>
            <a:ext cx="4375150" cy="325912"/>
          </a:xfrm>
        </p:spPr>
        <p:txBody>
          <a:bodyPr>
            <a:normAutofit/>
          </a:bodyPr>
          <a:lstStyle>
            <a:lvl1pPr marL="0" indent="0" algn="ctr">
              <a:buNone/>
              <a:defRPr sz="1400" b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188AC8-FAC3-1147-B29D-05BA49105C15}"/>
              </a:ext>
            </a:extLst>
          </p:cNvPr>
          <p:cNvCxnSpPr/>
          <p:nvPr userDrawn="1"/>
        </p:nvCxnSpPr>
        <p:spPr>
          <a:xfrm>
            <a:off x="8773248" y="5228283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23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er Slide - Campaign 1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0310" y="4544703"/>
            <a:ext cx="5612456" cy="627623"/>
          </a:xfrm>
        </p:spPr>
        <p:txBody>
          <a:bodyPr>
            <a:normAutofit/>
          </a:bodyPr>
          <a:lstStyle>
            <a:lvl1pPr marL="0" indent="0" algn="ctr">
              <a:buNone/>
              <a:defRPr sz="28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38963" y="5433953"/>
            <a:ext cx="4375150" cy="117194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Title(s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C40AB8-98C1-0C42-B5FD-48529EB36ABB}"/>
              </a:ext>
            </a:extLst>
          </p:cNvPr>
          <p:cNvCxnSpPr/>
          <p:nvPr userDrawn="1"/>
        </p:nvCxnSpPr>
        <p:spPr>
          <a:xfrm>
            <a:off x="8773248" y="5290049"/>
            <a:ext cx="706581" cy="0"/>
          </a:xfrm>
          <a:prstGeom prst="line">
            <a:avLst/>
          </a:prstGeom>
          <a:ln w="57150">
            <a:solidFill>
              <a:srgbClr val="EB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864" y="1381408"/>
            <a:ext cx="3073344" cy="2340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51465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ght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3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121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0D22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3396DB-1F56-6D4A-BCDC-A5F1B4E3E7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0818" y="1331088"/>
            <a:ext cx="11370019" cy="4845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74E8E-73DC-B94C-AC22-082FD0836967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A7F0D7D1-1430-0D43-B6B9-B46069553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1165531-C215-804F-AE12-55E8E3E82EFF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45DA1B5-E441-0844-B645-78621A90868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4E11239-27D7-A349-9313-6F72C8353D73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FFB1BE5A-FAB0-9A45-A856-0089E4ECC20C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B15404F-B2E8-0C49-ADDD-0D23A833D5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819" y="365126"/>
            <a:ext cx="8653041" cy="66502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51844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Purpl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4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44450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Green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5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04183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Orang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6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04739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Lion Yellow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2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8405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Campaign 100 (Lion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tx1">
              <a:lumMod val="50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24766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LCIF (Dark Blu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53DF2B5F-7BB1-844B-A8CF-86BF0DC0DC24}"/>
              </a:ext>
            </a:extLst>
          </p:cNvPr>
          <p:cNvSpPr/>
          <p:nvPr userDrawn="1"/>
        </p:nvSpPr>
        <p:spPr>
          <a:xfrm>
            <a:off x="-1880927" y="1042109"/>
            <a:ext cx="2654354" cy="2654354"/>
          </a:xfrm>
          <a:custGeom>
            <a:avLst/>
            <a:gdLst>
              <a:gd name="connsiteX0" fmla="*/ 1327177 w 2654354"/>
              <a:gd name="connsiteY0" fmla="*/ 0 h 2654354"/>
              <a:gd name="connsiteX1" fmla="*/ 2654354 w 2654354"/>
              <a:gd name="connsiteY1" fmla="*/ 1327177 h 2654354"/>
              <a:gd name="connsiteX2" fmla="*/ 1327177 w 2654354"/>
              <a:gd name="connsiteY2" fmla="*/ 2654354 h 2654354"/>
              <a:gd name="connsiteX3" fmla="*/ 0 w 2654354"/>
              <a:gd name="connsiteY3" fmla="*/ 1327177 h 2654354"/>
              <a:gd name="connsiteX4" fmla="*/ 1327177 w 2654354"/>
              <a:gd name="connsiteY4" fmla="*/ 0 h 2654354"/>
              <a:gd name="connsiteX5" fmla="*/ 1327177 w 2654354"/>
              <a:gd name="connsiteY5" fmla="*/ 346975 h 2654354"/>
              <a:gd name="connsiteX6" fmla="*/ 346975 w 2654354"/>
              <a:gd name="connsiteY6" fmla="*/ 1327177 h 2654354"/>
              <a:gd name="connsiteX7" fmla="*/ 1327177 w 2654354"/>
              <a:gd name="connsiteY7" fmla="*/ 2307379 h 2654354"/>
              <a:gd name="connsiteX8" fmla="*/ 2307379 w 2654354"/>
              <a:gd name="connsiteY8" fmla="*/ 1327177 h 2654354"/>
              <a:gd name="connsiteX9" fmla="*/ 1327177 w 2654354"/>
              <a:gd name="connsiteY9" fmla="*/ 346975 h 265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4354" h="2654354">
                <a:moveTo>
                  <a:pt x="1327177" y="0"/>
                </a:moveTo>
                <a:cubicBezTo>
                  <a:pt x="2060157" y="0"/>
                  <a:pt x="2654354" y="594197"/>
                  <a:pt x="2654354" y="1327177"/>
                </a:cubicBezTo>
                <a:cubicBezTo>
                  <a:pt x="2654354" y="2060157"/>
                  <a:pt x="2060157" y="2654354"/>
                  <a:pt x="1327177" y="2654354"/>
                </a:cubicBezTo>
                <a:cubicBezTo>
                  <a:pt x="594197" y="2654354"/>
                  <a:pt x="0" y="2060157"/>
                  <a:pt x="0" y="1327177"/>
                </a:cubicBezTo>
                <a:cubicBezTo>
                  <a:pt x="0" y="594197"/>
                  <a:pt x="594197" y="0"/>
                  <a:pt x="1327177" y="0"/>
                </a:cubicBezTo>
                <a:close/>
                <a:moveTo>
                  <a:pt x="1327177" y="346975"/>
                </a:moveTo>
                <a:cubicBezTo>
                  <a:pt x="785826" y="346975"/>
                  <a:pt x="346975" y="785826"/>
                  <a:pt x="346975" y="1327177"/>
                </a:cubicBezTo>
                <a:cubicBezTo>
                  <a:pt x="346975" y="1868528"/>
                  <a:pt x="785826" y="2307379"/>
                  <a:pt x="1327177" y="2307379"/>
                </a:cubicBezTo>
                <a:cubicBezTo>
                  <a:pt x="1868528" y="2307379"/>
                  <a:pt x="2307379" y="1868528"/>
                  <a:pt x="2307379" y="1327177"/>
                </a:cubicBezTo>
                <a:cubicBezTo>
                  <a:pt x="2307379" y="785826"/>
                  <a:pt x="1868528" y="346975"/>
                  <a:pt x="1327177" y="346975"/>
                </a:cubicBezTo>
                <a:close/>
              </a:path>
            </a:pathLst>
          </a:custGeom>
          <a:solidFill>
            <a:schemeClr val="accent1">
              <a:lumMod val="25000"/>
              <a:lumOff val="75000"/>
              <a:alpha val="45000"/>
            </a:schemeClr>
          </a:solidFill>
          <a:ln w="3175">
            <a:solidFill>
              <a:schemeClr val="bg1">
                <a:alpha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1124712" y="1385855"/>
            <a:ext cx="5630930" cy="2310608"/>
          </a:xfrm>
        </p:spPr>
        <p:txBody>
          <a:bodyPr/>
          <a:lstStyle>
            <a:lvl1pPr>
              <a:lnSpc>
                <a:spcPct val="100000"/>
              </a:lnSpc>
              <a:defRPr sz="6000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98294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516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4798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0768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Purpl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135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A61BC02-E3A8-0FE0-C55B-81EFDFFC41CA}"/>
              </a:ext>
            </a:extLst>
          </p:cNvPr>
          <p:cNvSpPr/>
          <p:nvPr userDrawn="1"/>
        </p:nvSpPr>
        <p:spPr>
          <a:xfrm>
            <a:off x="0" y="6339840"/>
            <a:ext cx="12192000" cy="518160"/>
          </a:xfrm>
          <a:prstGeom prst="rect">
            <a:avLst/>
          </a:prstGeom>
          <a:solidFill>
            <a:srgbClr val="0D224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36E3E91B-59FC-D55B-C19B-241890F09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697" y="6397623"/>
            <a:ext cx="1378746" cy="40259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4D3C14B-EC70-7CC8-517B-7897B16696D0}"/>
              </a:ext>
            </a:extLst>
          </p:cNvPr>
          <p:cNvGrpSpPr/>
          <p:nvPr userDrawn="1"/>
        </p:nvGrpSpPr>
        <p:grpSpPr>
          <a:xfrm>
            <a:off x="11273010" y="6416040"/>
            <a:ext cx="125096" cy="365760"/>
            <a:chOff x="9970956" y="6416040"/>
            <a:chExt cx="125096" cy="3657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43B3777-B2BE-8512-985A-CFE1B822AE0D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913172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9FA39A9-2187-F0CE-CA1F-EDCE8EB79BC2}"/>
                </a:ext>
              </a:extLst>
            </p:cNvPr>
            <p:cNvCxnSpPr>
              <a:cxnSpLocks/>
            </p:cNvCxnSpPr>
            <p:nvPr/>
          </p:nvCxnSpPr>
          <p:spPr>
            <a:xfrm rot="6600000">
              <a:off x="9788076" y="6598920"/>
              <a:ext cx="365760" cy="0"/>
            </a:xfrm>
            <a:prstGeom prst="line">
              <a:avLst/>
            </a:prstGeom>
            <a:ln w="22225">
              <a:solidFill>
                <a:srgbClr val="EBB8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9">
            <a:extLst>
              <a:ext uri="{FF2B5EF4-FFF2-40B4-BE49-F238E27FC236}">
                <a16:creationId xmlns:a16="http://schemas.microsoft.com/office/drawing/2014/main" id="{AF989D7D-83CA-F60B-0A61-9BCF5232A604}"/>
              </a:ext>
            </a:extLst>
          </p:cNvPr>
          <p:cNvSpPr txBox="1">
            <a:spLocks/>
          </p:cNvSpPr>
          <p:nvPr userDrawn="1"/>
        </p:nvSpPr>
        <p:spPr>
          <a:xfrm>
            <a:off x="11565313" y="6435092"/>
            <a:ext cx="56393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9D2149-6FA0-4B4E-8818-1AEC2B97CF46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0180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0212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627224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on 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716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9195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0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1629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Lion Blu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</p:pic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218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0 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3887E9-B21A-A343-BACE-84B00412C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80" y="6436634"/>
            <a:ext cx="1895135" cy="2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7423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CIF Content Slide - Globe (Dark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6341C-4825-DC49-BDEA-DF33C8A39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39621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0213" y="1440446"/>
            <a:ext cx="4032605" cy="1179924"/>
          </a:xfrm>
        </p:spPr>
        <p:txBody>
          <a:bodyPr/>
          <a:lstStyle>
            <a:lvl1pPr algn="r">
              <a:defRPr sz="2400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794" y="5622995"/>
            <a:ext cx="2743206" cy="123500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53150" y="1440446"/>
            <a:ext cx="5614988" cy="49003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11" y="6318374"/>
            <a:ext cx="1626108" cy="47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991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Side Circle (Whit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436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Side Circle (Black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-1" y="6457115"/>
            <a:ext cx="430213" cy="320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0315" y="2805403"/>
            <a:ext cx="3175250" cy="1247195"/>
          </a:xfrm>
          <a:noFill/>
        </p:spPr>
        <p:txBody>
          <a:bodyPr/>
          <a:lstStyle>
            <a:lvl1pPr algn="r">
              <a:defRPr sz="2400" strike="noStrike" cap="none" spc="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8149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47" Type="http://schemas.openxmlformats.org/officeDocument/2006/relationships/slideLayout" Target="../slideLayouts/slideLayout118.xml"/><Relationship Id="rId50" Type="http://schemas.openxmlformats.org/officeDocument/2006/relationships/slideLayout" Target="../slideLayouts/slideLayout121.xml"/><Relationship Id="rId55" Type="http://schemas.openxmlformats.org/officeDocument/2006/relationships/slideLayout" Target="../slideLayouts/slideLayout126.xml"/><Relationship Id="rId6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3" Type="http://schemas.openxmlformats.org/officeDocument/2006/relationships/slideLayout" Target="../slideLayouts/slideLayout124.xml"/><Relationship Id="rId58" Type="http://schemas.openxmlformats.org/officeDocument/2006/relationships/slideLayout" Target="../slideLayouts/slideLayout129.xml"/><Relationship Id="rId66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76.xml"/><Relationship Id="rId61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slideLayout" Target="../slideLayouts/slideLayout119.xml"/><Relationship Id="rId56" Type="http://schemas.openxmlformats.org/officeDocument/2006/relationships/slideLayout" Target="../slideLayouts/slideLayout127.xml"/><Relationship Id="rId64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79.xml"/><Relationship Id="rId5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slideLayout" Target="../slideLayouts/slideLayout117.xml"/><Relationship Id="rId59" Type="http://schemas.openxmlformats.org/officeDocument/2006/relationships/slideLayout" Target="../slideLayouts/slideLayout130.xml"/><Relationship Id="rId67" Type="http://schemas.openxmlformats.org/officeDocument/2006/relationships/theme" Target="../theme/theme2.xml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Relationship Id="rId54" Type="http://schemas.openxmlformats.org/officeDocument/2006/relationships/slideLayout" Target="../slideLayouts/slideLayout125.xml"/><Relationship Id="rId6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slideLayout" Target="../slideLayouts/slideLayout120.xml"/><Relationship Id="rId57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52" Type="http://schemas.openxmlformats.org/officeDocument/2006/relationships/slideLayout" Target="../slideLayouts/slideLayout123.xml"/><Relationship Id="rId60" Type="http://schemas.openxmlformats.org/officeDocument/2006/relationships/slideLayout" Target="../slideLayouts/slideLayout131.xml"/><Relationship Id="rId65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9" Type="http://schemas.openxmlformats.org/officeDocument/2006/relationships/slideLayout" Target="../slideLayouts/slideLayout11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8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59.xml"/><Relationship Id="rId34" Type="http://schemas.openxmlformats.org/officeDocument/2006/relationships/slideLayout" Target="../slideLayouts/slideLayout172.xml"/><Relationship Id="rId42" Type="http://schemas.openxmlformats.org/officeDocument/2006/relationships/slideLayout" Target="../slideLayouts/slideLayout180.xml"/><Relationship Id="rId47" Type="http://schemas.openxmlformats.org/officeDocument/2006/relationships/slideLayout" Target="../slideLayouts/slideLayout185.xml"/><Relationship Id="rId50" Type="http://schemas.openxmlformats.org/officeDocument/2006/relationships/slideLayout" Target="../slideLayouts/slideLayout188.xml"/><Relationship Id="rId55" Type="http://schemas.openxmlformats.org/officeDocument/2006/relationships/slideLayout" Target="../slideLayouts/slideLayout193.xml"/><Relationship Id="rId6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62.xml"/><Relationship Id="rId32" Type="http://schemas.openxmlformats.org/officeDocument/2006/relationships/slideLayout" Target="../slideLayouts/slideLayout170.xml"/><Relationship Id="rId37" Type="http://schemas.openxmlformats.org/officeDocument/2006/relationships/slideLayout" Target="../slideLayouts/slideLayout175.xml"/><Relationship Id="rId40" Type="http://schemas.openxmlformats.org/officeDocument/2006/relationships/slideLayout" Target="../slideLayouts/slideLayout178.xml"/><Relationship Id="rId45" Type="http://schemas.openxmlformats.org/officeDocument/2006/relationships/slideLayout" Target="../slideLayouts/slideLayout183.xml"/><Relationship Id="rId53" Type="http://schemas.openxmlformats.org/officeDocument/2006/relationships/slideLayout" Target="../slideLayouts/slideLayout191.xml"/><Relationship Id="rId58" Type="http://schemas.openxmlformats.org/officeDocument/2006/relationships/slideLayout" Target="../slideLayouts/slideLayout196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43.xml"/><Relationship Id="rId61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Relationship Id="rId27" Type="http://schemas.openxmlformats.org/officeDocument/2006/relationships/slideLayout" Target="../slideLayouts/slideLayout165.xml"/><Relationship Id="rId30" Type="http://schemas.openxmlformats.org/officeDocument/2006/relationships/slideLayout" Target="../slideLayouts/slideLayout168.xml"/><Relationship Id="rId35" Type="http://schemas.openxmlformats.org/officeDocument/2006/relationships/slideLayout" Target="../slideLayouts/slideLayout173.xml"/><Relationship Id="rId43" Type="http://schemas.openxmlformats.org/officeDocument/2006/relationships/slideLayout" Target="../slideLayouts/slideLayout181.xml"/><Relationship Id="rId48" Type="http://schemas.openxmlformats.org/officeDocument/2006/relationships/slideLayout" Target="../slideLayouts/slideLayout186.xml"/><Relationship Id="rId56" Type="http://schemas.openxmlformats.org/officeDocument/2006/relationships/slideLayout" Target="../slideLayouts/slideLayout194.xml"/><Relationship Id="rId64" Type="http://schemas.openxmlformats.org/officeDocument/2006/relationships/slideLayout" Target="../slideLayouts/slideLayout202.xml"/><Relationship Id="rId8" Type="http://schemas.openxmlformats.org/officeDocument/2006/relationships/slideLayout" Target="../slideLayouts/slideLayout146.xml"/><Relationship Id="rId51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5" Type="http://schemas.openxmlformats.org/officeDocument/2006/relationships/slideLayout" Target="../slideLayouts/slideLayout163.xml"/><Relationship Id="rId33" Type="http://schemas.openxmlformats.org/officeDocument/2006/relationships/slideLayout" Target="../slideLayouts/slideLayout171.xml"/><Relationship Id="rId38" Type="http://schemas.openxmlformats.org/officeDocument/2006/relationships/slideLayout" Target="../slideLayouts/slideLayout176.xml"/><Relationship Id="rId46" Type="http://schemas.openxmlformats.org/officeDocument/2006/relationships/slideLayout" Target="../slideLayouts/slideLayout184.xml"/><Relationship Id="rId59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158.xml"/><Relationship Id="rId41" Type="http://schemas.openxmlformats.org/officeDocument/2006/relationships/slideLayout" Target="../slideLayouts/slideLayout179.xml"/><Relationship Id="rId54" Type="http://schemas.openxmlformats.org/officeDocument/2006/relationships/slideLayout" Target="../slideLayouts/slideLayout192.xml"/><Relationship Id="rId6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28" Type="http://schemas.openxmlformats.org/officeDocument/2006/relationships/slideLayout" Target="../slideLayouts/slideLayout166.xml"/><Relationship Id="rId36" Type="http://schemas.openxmlformats.org/officeDocument/2006/relationships/slideLayout" Target="../slideLayouts/slideLayout174.xml"/><Relationship Id="rId49" Type="http://schemas.openxmlformats.org/officeDocument/2006/relationships/slideLayout" Target="../slideLayouts/slideLayout187.xml"/><Relationship Id="rId57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9.xml"/><Relationship Id="rId44" Type="http://schemas.openxmlformats.org/officeDocument/2006/relationships/slideLayout" Target="../slideLayouts/slideLayout182.xml"/><Relationship Id="rId52" Type="http://schemas.openxmlformats.org/officeDocument/2006/relationships/slideLayout" Target="../slideLayouts/slideLayout190.xml"/><Relationship Id="rId60" Type="http://schemas.openxmlformats.org/officeDocument/2006/relationships/slideLayout" Target="../slideLayouts/slideLayout198.xml"/><Relationship Id="rId65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39" Type="http://schemas.openxmlformats.org/officeDocument/2006/relationships/slideLayout" Target="../slideLayouts/slideLayout17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229.xml"/><Relationship Id="rId3" Type="http://schemas.openxmlformats.org/officeDocument/2006/relationships/slideLayout" Target="../slideLayouts/slideLayout206.xml"/><Relationship Id="rId21" Type="http://schemas.openxmlformats.org/officeDocument/2006/relationships/slideLayout" Target="../slideLayouts/slideLayout22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slideLayout" Target="../slideLayouts/slideLayout228.xml"/><Relationship Id="rId33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223.xml"/><Relationship Id="rId29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24" Type="http://schemas.openxmlformats.org/officeDocument/2006/relationships/slideLayout" Target="../slideLayouts/slideLayout227.xml"/><Relationship Id="rId32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slideLayout" Target="../slideLayouts/slideLayout226.xml"/><Relationship Id="rId28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31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225.xml"/><Relationship Id="rId27" Type="http://schemas.openxmlformats.org/officeDocument/2006/relationships/slideLayout" Target="../slideLayouts/slideLayout230.xml"/><Relationship Id="rId30" Type="http://schemas.openxmlformats.org/officeDocument/2006/relationships/slideLayout" Target="../slideLayouts/slideLayout233.xml"/><Relationship Id="rId8" Type="http://schemas.openxmlformats.org/officeDocument/2006/relationships/slideLayout" Target="../slideLayouts/slideLayout2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40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514649-83B4-8745-8674-A80B6CEFA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F68DBA-BE93-ED4B-8B0E-8754AA5536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77AA36-8170-524F-8849-827E080C2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2400" y="6361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9D2149-6FA0-4B4E-8818-1AEC2B97CF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075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3" r:id="rId1"/>
    <p:sldLayoutId id="2147483664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5039" r:id="rId12"/>
    <p:sldLayoutId id="2147485040" r:id="rId13"/>
    <p:sldLayoutId id="2147485041" r:id="rId14"/>
    <p:sldLayoutId id="2147485042" r:id="rId15"/>
    <p:sldLayoutId id="2147485043" r:id="rId16"/>
    <p:sldLayoutId id="2147485044" r:id="rId17"/>
    <p:sldLayoutId id="2147485045" r:id="rId18"/>
    <p:sldLayoutId id="2147485046" r:id="rId19"/>
    <p:sldLayoutId id="2147485047" r:id="rId20"/>
    <p:sldLayoutId id="2147483699" r:id="rId21"/>
    <p:sldLayoutId id="2147485048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  <p:sldLayoutId id="2147483707" r:id="rId29"/>
    <p:sldLayoutId id="2147484327" r:id="rId30"/>
    <p:sldLayoutId id="2147484328" r:id="rId31"/>
    <p:sldLayoutId id="2147485025" r:id="rId32"/>
    <p:sldLayoutId id="2147485037" r:id="rId33"/>
    <p:sldLayoutId id="2147485038" r:id="rId34"/>
    <p:sldLayoutId id="2147483909" r:id="rId35"/>
    <p:sldLayoutId id="2147483908" r:id="rId36"/>
    <p:sldLayoutId id="2147483907" r:id="rId37"/>
    <p:sldLayoutId id="2147484329" r:id="rId38"/>
    <p:sldLayoutId id="2147484056" r:id="rId39"/>
    <p:sldLayoutId id="2147485013" r:id="rId40"/>
    <p:sldLayoutId id="2147484057" r:id="rId41"/>
    <p:sldLayoutId id="2147485014" r:id="rId42"/>
    <p:sldLayoutId id="2147483675" r:id="rId43"/>
    <p:sldLayoutId id="2147484060" r:id="rId44"/>
    <p:sldLayoutId id="2147485022" r:id="rId45"/>
    <p:sldLayoutId id="2147485017" r:id="rId46"/>
    <p:sldLayoutId id="2147484062" r:id="rId47"/>
    <p:sldLayoutId id="2147483676" r:id="rId48"/>
    <p:sldLayoutId id="2147485024" r:id="rId49"/>
    <p:sldLayoutId id="2147485021" r:id="rId50"/>
    <p:sldLayoutId id="2147485019" r:id="rId51"/>
    <p:sldLayoutId id="2147485023" r:id="rId52"/>
    <p:sldLayoutId id="2147483677" r:id="rId53"/>
    <p:sldLayoutId id="2147485016" r:id="rId54"/>
    <p:sldLayoutId id="2147485020" r:id="rId55"/>
    <p:sldLayoutId id="2147484059" r:id="rId56"/>
    <p:sldLayoutId id="2147485018" r:id="rId57"/>
    <p:sldLayoutId id="2147485015" r:id="rId58"/>
    <p:sldLayoutId id="2147484330" r:id="rId59"/>
    <p:sldLayoutId id="2147483761" r:id="rId60"/>
    <p:sldLayoutId id="2147483724" r:id="rId61"/>
    <p:sldLayoutId id="2147484331" r:id="rId62"/>
    <p:sldLayoutId id="2147483725" r:id="rId63"/>
    <p:sldLayoutId id="2147483726" r:id="rId64"/>
    <p:sldLayoutId id="2147483727" r:id="rId65"/>
    <p:sldLayoutId id="2147483728" r:id="rId66"/>
    <p:sldLayoutId id="2147485036" r:id="rId67"/>
    <p:sldLayoutId id="2147483730" r:id="rId68"/>
    <p:sldLayoutId id="2147483924" r:id="rId69"/>
    <p:sldLayoutId id="2147483925" r:id="rId70"/>
    <p:sldLayoutId id="2147484169" r:id="rId7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FCBE9B-B053-4247-9135-508EDFC77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375921"/>
            <a:ext cx="11337925" cy="6035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7A8757-FD40-A348-8CED-87C9C197C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213" y="1447800"/>
            <a:ext cx="11337925" cy="48798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106D3-85BB-4F45-82F7-1B63EA31B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F44-B557-3941-A253-880F885761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2FFF44-DBF6-4F9F-9F70-A48E8AF83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673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5027" r:id="rId2"/>
    <p:sldLayoutId id="2147485026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796" r:id="rId20"/>
    <p:sldLayoutId id="2147483797" r:id="rId21"/>
    <p:sldLayoutId id="2147483798" r:id="rId22"/>
    <p:sldLayoutId id="2147483799" r:id="rId23"/>
    <p:sldLayoutId id="2147483800" r:id="rId24"/>
    <p:sldLayoutId id="2147483801" r:id="rId25"/>
    <p:sldLayoutId id="2147483802" r:id="rId26"/>
    <p:sldLayoutId id="2147483803" r:id="rId27"/>
    <p:sldLayoutId id="2147483804" r:id="rId28"/>
    <p:sldLayoutId id="2147483805" r:id="rId29"/>
    <p:sldLayoutId id="2147483806" r:id="rId30"/>
    <p:sldLayoutId id="2147483807" r:id="rId31"/>
    <p:sldLayoutId id="2147483808" r:id="rId32"/>
    <p:sldLayoutId id="2147483809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5" r:id="rId47"/>
    <p:sldLayoutId id="2147483826" r:id="rId48"/>
    <p:sldLayoutId id="2147483827" r:id="rId49"/>
    <p:sldLayoutId id="2147483828" r:id="rId50"/>
    <p:sldLayoutId id="2147483829" r:id="rId51"/>
    <p:sldLayoutId id="2147483830" r:id="rId52"/>
    <p:sldLayoutId id="2147483831" r:id="rId53"/>
    <p:sldLayoutId id="2147483832" r:id="rId54"/>
    <p:sldLayoutId id="2147483833" r:id="rId55"/>
    <p:sldLayoutId id="2147483834" r:id="rId56"/>
    <p:sldLayoutId id="2147483835" r:id="rId57"/>
    <p:sldLayoutId id="2147483836" r:id="rId58"/>
    <p:sldLayoutId id="2147483837" r:id="rId59"/>
    <p:sldLayoutId id="2147483838" r:id="rId60"/>
    <p:sldLayoutId id="2147483839" r:id="rId61"/>
    <p:sldLayoutId id="2147483840" r:id="rId62"/>
    <p:sldLayoutId id="2147483841" r:id="rId63"/>
    <p:sldLayoutId id="2147483923" r:id="rId64"/>
    <p:sldLayoutId id="2147483771" r:id="rId65"/>
    <p:sldLayoutId id="2147484979" r:id="rId66"/>
  </p:sldLayoutIdLst>
  <p:hf hdr="0" ftr="0" dt="0"/>
  <p:txStyles>
    <p:titleStyle>
      <a:lvl1pPr algn="l" defTabSz="914400" rtl="0" eaLnBrk="1" latinLnBrk="0" hangingPunct="1">
        <a:lnSpc>
          <a:spcPct val="130000"/>
        </a:lnSpc>
        <a:spcBef>
          <a:spcPct val="0"/>
        </a:spcBef>
        <a:buNone/>
        <a:defRPr sz="1800" kern="1200" cap="all" spc="10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271">
          <p15:clr>
            <a:srgbClr val="F26B43"/>
          </p15:clr>
        </p15:guide>
        <p15:guide id="4" pos="7413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Box 9"/>
          <p:cNvSpPr txBox="1">
            <a:spLocks noChangeArrowheads="1"/>
          </p:cNvSpPr>
          <p:nvPr/>
        </p:nvSpPr>
        <p:spPr bwMode="auto">
          <a:xfrm>
            <a:off x="112268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fld id="{27288A19-C912-48FD-BBDD-B6C475FAB7E0}" type="slidenum">
              <a:rPr lang="en-US" sz="1000" smtClean="0">
                <a:solidFill>
                  <a:srgbClr val="00338D"/>
                </a:solidFill>
              </a:rPr>
              <a:pPr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74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hf sldNum="0" hd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accent6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230182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marL="746107" indent="-227008" algn="l" rtl="0" eaLnBrk="1" fontAlgn="base" hangingPunct="1">
        <a:spcBef>
          <a:spcPct val="20000"/>
        </a:spcBef>
        <a:spcAft>
          <a:spcPct val="0"/>
        </a:spcAft>
        <a:buFont typeface="Segoe UI" panose="020B0502040204020203" pitchFamily="34" charset="0"/>
        <a:buChar char="—"/>
        <a:defRPr sz="16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2pPr>
      <a:lvl3pPr marL="1144559" indent="-23018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3pPr>
      <a:lvl4pPr marL="1598573" indent="-22700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▫"/>
        <a:defRPr>
          <a:solidFill>
            <a:schemeClr val="tx1"/>
          </a:solidFill>
          <a:latin typeface="+mn-lt"/>
          <a:ea typeface="ヒラギノ角ゴ Pro W3" charset="0"/>
        </a:defRPr>
      </a:lvl4pPr>
      <a:lvl5pPr marL="2058937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◦"/>
        <a:defRPr sz="1600">
          <a:solidFill>
            <a:schemeClr val="tx1"/>
          </a:solidFill>
          <a:latin typeface="+mn-lt"/>
          <a:ea typeface="ヒラギノ角ゴ Pro W3" charset="0"/>
        </a:defRPr>
      </a:lvl5pPr>
      <a:lvl6pPr marL="2285943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743131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200320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657509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4">
          <p15:clr>
            <a:srgbClr val="F26B43"/>
          </p15:clr>
        </p15:guide>
        <p15:guide id="2" pos="25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FCBE9B-B053-4247-9135-508EDFC77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375921"/>
            <a:ext cx="11337925" cy="6035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7A8757-FD40-A348-8CED-87C9C197C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213" y="1447800"/>
            <a:ext cx="11337925" cy="48798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106D3-85BB-4F45-82F7-1B63EA31B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F44-B557-3941-A253-880F885761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2FFF44-DBF6-4F9F-9F70-A48E8AF83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353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487" r:id="rId5"/>
    <p:sldLayoutId id="2147484170" r:id="rId6"/>
    <p:sldLayoutId id="2147484171" r:id="rId7"/>
    <p:sldLayoutId id="2147484172" r:id="rId8"/>
    <p:sldLayoutId id="2147484173" r:id="rId9"/>
    <p:sldLayoutId id="2147484174" r:id="rId10"/>
    <p:sldLayoutId id="2147484175" r:id="rId11"/>
    <p:sldLayoutId id="2147484176" r:id="rId12"/>
    <p:sldLayoutId id="2147484177" r:id="rId13"/>
    <p:sldLayoutId id="2147484178" r:id="rId14"/>
    <p:sldLayoutId id="2147484179" r:id="rId15"/>
    <p:sldLayoutId id="2147484180" r:id="rId16"/>
    <p:sldLayoutId id="2147484181" r:id="rId17"/>
    <p:sldLayoutId id="2147484182" r:id="rId18"/>
    <p:sldLayoutId id="2147484183" r:id="rId19"/>
    <p:sldLayoutId id="2147484184" r:id="rId20"/>
    <p:sldLayoutId id="2147484185" r:id="rId21"/>
    <p:sldLayoutId id="2147484186" r:id="rId22"/>
    <p:sldLayoutId id="2147484187" r:id="rId23"/>
    <p:sldLayoutId id="2147484188" r:id="rId24"/>
    <p:sldLayoutId id="2147484189" r:id="rId25"/>
    <p:sldLayoutId id="2147484190" r:id="rId26"/>
    <p:sldLayoutId id="2147484191" r:id="rId27"/>
    <p:sldLayoutId id="2147484192" r:id="rId28"/>
    <p:sldLayoutId id="2147484193" r:id="rId29"/>
    <p:sldLayoutId id="2147484194" r:id="rId30"/>
    <p:sldLayoutId id="2147484195" r:id="rId31"/>
    <p:sldLayoutId id="2147484196" r:id="rId32"/>
    <p:sldLayoutId id="2147484197" r:id="rId33"/>
    <p:sldLayoutId id="2147484198" r:id="rId34"/>
    <p:sldLayoutId id="2147484199" r:id="rId35"/>
    <p:sldLayoutId id="2147484200" r:id="rId36"/>
    <p:sldLayoutId id="2147484201" r:id="rId37"/>
    <p:sldLayoutId id="2147484202" r:id="rId38"/>
    <p:sldLayoutId id="2147484203" r:id="rId39"/>
    <p:sldLayoutId id="2147484204" r:id="rId40"/>
    <p:sldLayoutId id="2147484205" r:id="rId41"/>
    <p:sldLayoutId id="2147484206" r:id="rId42"/>
    <p:sldLayoutId id="2147484207" r:id="rId43"/>
    <p:sldLayoutId id="2147484208" r:id="rId44"/>
    <p:sldLayoutId id="2147484209" r:id="rId45"/>
    <p:sldLayoutId id="2147484210" r:id="rId46"/>
    <p:sldLayoutId id="2147484211" r:id="rId47"/>
    <p:sldLayoutId id="2147484212" r:id="rId48"/>
    <p:sldLayoutId id="2147484213" r:id="rId49"/>
    <p:sldLayoutId id="2147484214" r:id="rId50"/>
    <p:sldLayoutId id="2147484215" r:id="rId51"/>
    <p:sldLayoutId id="2147484216" r:id="rId52"/>
    <p:sldLayoutId id="2147484217" r:id="rId53"/>
    <p:sldLayoutId id="2147484218" r:id="rId54"/>
    <p:sldLayoutId id="2147484219" r:id="rId55"/>
    <p:sldLayoutId id="2147484220" r:id="rId56"/>
    <p:sldLayoutId id="2147484221" r:id="rId57"/>
    <p:sldLayoutId id="2147484222" r:id="rId58"/>
    <p:sldLayoutId id="2147484223" r:id="rId59"/>
    <p:sldLayoutId id="2147484224" r:id="rId60"/>
    <p:sldLayoutId id="2147484225" r:id="rId61"/>
    <p:sldLayoutId id="2147484226" r:id="rId62"/>
    <p:sldLayoutId id="2147484227" r:id="rId63"/>
    <p:sldLayoutId id="2147484228" r:id="rId64"/>
    <p:sldLayoutId id="2147484229" r:id="rId65"/>
  </p:sldLayoutIdLst>
  <p:hf hdr="0" ftr="0" dt="0"/>
  <p:txStyles>
    <p:titleStyle>
      <a:lvl1pPr algn="l" defTabSz="914400" rtl="0" eaLnBrk="1" latinLnBrk="0" hangingPunct="1">
        <a:lnSpc>
          <a:spcPct val="130000"/>
        </a:lnSpc>
        <a:spcBef>
          <a:spcPct val="0"/>
        </a:spcBef>
        <a:buNone/>
        <a:defRPr sz="1800" kern="1200" cap="all" spc="10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271">
          <p15:clr>
            <a:srgbClr val="F26B43"/>
          </p15:clr>
        </p15:guide>
        <p15:guide id="4" pos="7413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FCBE9B-B053-4247-9135-508EDFC77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375921"/>
            <a:ext cx="11337925" cy="6035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7A8757-FD40-A348-8CED-87C9C197C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213" y="1447800"/>
            <a:ext cx="11337925" cy="48798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106D3-85BB-4F45-82F7-1B63EA31B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F44-B557-3941-A253-880F885761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FF44-DBF6-4F9F-9F70-A48E8AF833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704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100" r:id="rId10"/>
    <p:sldLayoutId id="2147484486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</p:sldLayoutIdLst>
  <p:hf hdr="0" ftr="0" dt="0"/>
  <p:txStyles>
    <p:titleStyle>
      <a:lvl1pPr algn="l" defTabSz="914400" rtl="0" eaLnBrk="1" latinLnBrk="0" hangingPunct="1">
        <a:lnSpc>
          <a:spcPct val="130000"/>
        </a:lnSpc>
        <a:spcBef>
          <a:spcPct val="0"/>
        </a:spcBef>
        <a:buNone/>
        <a:defRPr sz="2400" kern="1200" cap="all" spc="10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271">
          <p15:clr>
            <a:srgbClr val="F26B43"/>
          </p15:clr>
        </p15:guide>
        <p15:guide id="4" pos="7413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FCBE9B-B053-4247-9135-508EDFC77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8" y="375924"/>
            <a:ext cx="11337925" cy="6035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7A8757-FD40-A348-8CED-87C9C197C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218" y="1447800"/>
            <a:ext cx="11337925" cy="48798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106D3-85BB-4F45-82F7-1B63EA31B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8" y="6300787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F44-B557-3941-A253-880F885761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00787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54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  <p:sldLayoutId id="2147484370" r:id="rId2"/>
    <p:sldLayoutId id="2147484371" r:id="rId3"/>
    <p:sldLayoutId id="2147484372" r:id="rId4"/>
    <p:sldLayoutId id="2147484373" r:id="rId5"/>
    <p:sldLayoutId id="2147484374" r:id="rId6"/>
    <p:sldLayoutId id="2147484375" r:id="rId7"/>
    <p:sldLayoutId id="2147484376" r:id="rId8"/>
  </p:sldLayoutIdLst>
  <p:hf hdr="0" ftr="0" dt="0"/>
  <p:txStyles>
    <p:titleStyle>
      <a:lvl1pPr algn="l" defTabSz="914435" rtl="0" eaLnBrk="1" latinLnBrk="0" hangingPunct="1">
        <a:lnSpc>
          <a:spcPct val="130000"/>
        </a:lnSpc>
        <a:spcBef>
          <a:spcPct val="0"/>
        </a:spcBef>
        <a:buNone/>
        <a:defRPr sz="1801" kern="1200" cap="all" spc="1001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35" rtl="0" eaLnBrk="1" latinLnBrk="0" hangingPunct="1">
        <a:lnSpc>
          <a:spcPct val="90000"/>
        </a:lnSpc>
        <a:spcBef>
          <a:spcPts val="1001"/>
        </a:spcBef>
        <a:spcAft>
          <a:spcPts val="601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35" rtl="0" eaLnBrk="1" latinLnBrk="0" hangingPunct="1">
        <a:lnSpc>
          <a:spcPct val="90000"/>
        </a:lnSpc>
        <a:spcBef>
          <a:spcPts val="500"/>
        </a:spcBef>
        <a:spcAft>
          <a:spcPts val="601"/>
        </a:spcAft>
        <a:buFont typeface="Arial" panose="020B0604020202020204" pitchFamily="34" charset="0"/>
        <a:buNone/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35" rtl="0" eaLnBrk="1" latinLnBrk="0" hangingPunct="1">
        <a:lnSpc>
          <a:spcPct val="90000"/>
        </a:lnSpc>
        <a:spcBef>
          <a:spcPts val="500"/>
        </a:spcBef>
        <a:spcAft>
          <a:spcPts val="601"/>
        </a:spcAft>
        <a:buFont typeface="Arial" panose="020B0604020202020204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35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40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35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6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3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9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5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8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35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1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5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2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520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8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270">
          <p15:clr>
            <a:srgbClr val="F26B43"/>
          </p15:clr>
        </p15:guide>
        <p15:guide id="4" pos="7413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FCBE9B-B053-4247-9135-508EDFC77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375921"/>
            <a:ext cx="11337925" cy="6035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7A8757-FD40-A348-8CED-87C9C197C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213" y="1447800"/>
            <a:ext cx="11337925" cy="48798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106D3-85BB-4F45-82F7-1B63EA31B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213" y="6300784"/>
            <a:ext cx="7726235" cy="3194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F44-B557-3941-A253-880F885761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00784"/>
            <a:ext cx="3157538" cy="320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8B32DCC-C169-6242-A663-729B7647A3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359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  <p:sldLayoutId id="2147484384" r:id="rId5"/>
    <p:sldLayoutId id="2147484385" r:id="rId6"/>
    <p:sldLayoutId id="2147484386" r:id="rId7"/>
  </p:sldLayoutIdLst>
  <p:hf hdr="0" ftr="0" dt="0"/>
  <p:txStyles>
    <p:titleStyle>
      <a:lvl1pPr algn="l" defTabSz="914400" rtl="0" eaLnBrk="1" latinLnBrk="0" hangingPunct="1">
        <a:lnSpc>
          <a:spcPct val="130000"/>
        </a:lnSpc>
        <a:spcBef>
          <a:spcPct val="0"/>
        </a:spcBef>
        <a:buNone/>
        <a:defRPr sz="1800" kern="1200" cap="all" spc="10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271">
          <p15:clr>
            <a:srgbClr val="F26B43"/>
          </p15:clr>
        </p15:guide>
        <p15:guide id="4" pos="7413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orient="horz" pos="21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6457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5031" r:id="rId2"/>
    <p:sldLayoutId id="2147483713" r:id="rId3"/>
    <p:sldLayoutId id="2147485035" r:id="rId4"/>
    <p:sldLayoutId id="2147483716" r:id="rId5"/>
    <p:sldLayoutId id="2147483717" r:id="rId6"/>
    <p:sldLayoutId id="2147483718" r:id="rId7"/>
    <p:sldLayoutId id="2147485032" r:id="rId8"/>
    <p:sldLayoutId id="2147483720" r:id="rId9"/>
    <p:sldLayoutId id="2147483722" r:id="rId10"/>
    <p:sldLayoutId id="2147484977" r:id="rId11"/>
  </p:sldLayoutIdLst>
  <p:hf sldNum="0" hd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accent6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230182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marL="746107" indent="-227008" algn="l" rtl="0" eaLnBrk="1" fontAlgn="base" hangingPunct="1">
        <a:spcBef>
          <a:spcPct val="20000"/>
        </a:spcBef>
        <a:spcAft>
          <a:spcPct val="0"/>
        </a:spcAft>
        <a:buFont typeface="Segoe UI" panose="020B0502040204020203" pitchFamily="34" charset="0"/>
        <a:buChar char="—"/>
        <a:defRPr sz="16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2pPr>
      <a:lvl3pPr marL="1144559" indent="-23018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3pPr>
      <a:lvl4pPr marL="1598573" indent="-22700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▫"/>
        <a:defRPr>
          <a:solidFill>
            <a:schemeClr val="tx1"/>
          </a:solidFill>
          <a:latin typeface="+mn-lt"/>
          <a:ea typeface="ヒラギノ角ゴ Pro W3" charset="0"/>
        </a:defRPr>
      </a:lvl4pPr>
      <a:lvl5pPr marL="2058937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◦"/>
        <a:defRPr sz="1600">
          <a:solidFill>
            <a:schemeClr val="tx1"/>
          </a:solidFill>
          <a:latin typeface="+mn-lt"/>
          <a:ea typeface="ヒラギノ角ゴ Pro W3" charset="0"/>
        </a:defRPr>
      </a:lvl5pPr>
      <a:lvl6pPr marL="2285943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743131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200320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657509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424">
          <p15:clr>
            <a:srgbClr val="F26B43"/>
          </p15:clr>
        </p15:guide>
        <p15:guide id="3" pos="2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0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52.svg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1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2.xml"/><Relationship Id="rId4" Type="http://schemas.openxmlformats.org/officeDocument/2006/relationships/image" Target="../media/image49.emf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2.png"/><Relationship Id="rId117" Type="http://schemas.openxmlformats.org/officeDocument/2006/relationships/image" Target="../media/image159.png"/><Relationship Id="rId21" Type="http://schemas.openxmlformats.org/officeDocument/2006/relationships/image" Target="../media/image67.svg"/><Relationship Id="rId42" Type="http://schemas.openxmlformats.org/officeDocument/2006/relationships/image" Target="../media/image88.png"/><Relationship Id="rId47" Type="http://schemas.openxmlformats.org/officeDocument/2006/relationships/image" Target="../media/image93.svg"/><Relationship Id="rId63" Type="http://schemas.openxmlformats.org/officeDocument/2006/relationships/image" Target="../media/image109.svg"/><Relationship Id="rId68" Type="http://schemas.openxmlformats.org/officeDocument/2006/relationships/image" Target="../media/image114.png"/><Relationship Id="rId84" Type="http://schemas.openxmlformats.org/officeDocument/2006/relationships/image" Target="../media/image130.png"/><Relationship Id="rId89" Type="http://schemas.openxmlformats.org/officeDocument/2006/relationships/image" Target="../media/image135.svg"/><Relationship Id="rId112" Type="http://schemas.openxmlformats.org/officeDocument/2006/relationships/image" Target="../media/image154.png"/><Relationship Id="rId16" Type="http://schemas.openxmlformats.org/officeDocument/2006/relationships/image" Target="../media/image62.png"/><Relationship Id="rId107" Type="http://schemas.microsoft.com/office/2007/relationships/hdphoto" Target="../media/hdphoto20.wdp"/><Relationship Id="rId11" Type="http://schemas.openxmlformats.org/officeDocument/2006/relationships/image" Target="../media/image57.svg"/><Relationship Id="rId32" Type="http://schemas.openxmlformats.org/officeDocument/2006/relationships/image" Target="../media/image78.png"/><Relationship Id="rId37" Type="http://schemas.openxmlformats.org/officeDocument/2006/relationships/image" Target="../media/image83.svg"/><Relationship Id="rId53" Type="http://schemas.openxmlformats.org/officeDocument/2006/relationships/image" Target="../media/image99.svg"/><Relationship Id="rId58" Type="http://schemas.openxmlformats.org/officeDocument/2006/relationships/image" Target="../media/image104.png"/><Relationship Id="rId74" Type="http://schemas.openxmlformats.org/officeDocument/2006/relationships/image" Target="../media/image120.png"/><Relationship Id="rId79" Type="http://schemas.openxmlformats.org/officeDocument/2006/relationships/image" Target="../media/image125.svg"/><Relationship Id="rId102" Type="http://schemas.openxmlformats.org/officeDocument/2006/relationships/image" Target="../media/image147.svg"/><Relationship Id="rId123" Type="http://schemas.openxmlformats.org/officeDocument/2006/relationships/image" Target="../media/image165.png"/><Relationship Id="rId5" Type="http://schemas.openxmlformats.org/officeDocument/2006/relationships/oleObject" Target="../embeddings/oleObject3.bin"/><Relationship Id="rId90" Type="http://schemas.openxmlformats.org/officeDocument/2006/relationships/image" Target="../media/image136.png"/><Relationship Id="rId95" Type="http://schemas.openxmlformats.org/officeDocument/2006/relationships/image" Target="../media/image140.svg"/><Relationship Id="rId22" Type="http://schemas.openxmlformats.org/officeDocument/2006/relationships/image" Target="../media/image68.png"/><Relationship Id="rId27" Type="http://schemas.openxmlformats.org/officeDocument/2006/relationships/image" Target="../media/image73.svg"/><Relationship Id="rId43" Type="http://schemas.openxmlformats.org/officeDocument/2006/relationships/image" Target="../media/image89.svg"/><Relationship Id="rId48" Type="http://schemas.openxmlformats.org/officeDocument/2006/relationships/image" Target="../media/image94.png"/><Relationship Id="rId64" Type="http://schemas.openxmlformats.org/officeDocument/2006/relationships/image" Target="../media/image110.png"/><Relationship Id="rId69" Type="http://schemas.openxmlformats.org/officeDocument/2006/relationships/image" Target="../media/image115.svg"/><Relationship Id="rId113" Type="http://schemas.openxmlformats.org/officeDocument/2006/relationships/image" Target="../media/image155.svg"/><Relationship Id="rId118" Type="http://schemas.openxmlformats.org/officeDocument/2006/relationships/image" Target="../media/image160.svg"/><Relationship Id="rId80" Type="http://schemas.openxmlformats.org/officeDocument/2006/relationships/image" Target="../media/image126.png"/><Relationship Id="rId85" Type="http://schemas.openxmlformats.org/officeDocument/2006/relationships/image" Target="../media/image131.svg"/><Relationship Id="rId12" Type="http://schemas.openxmlformats.org/officeDocument/2006/relationships/image" Target="../media/image58.png"/><Relationship Id="rId17" Type="http://schemas.openxmlformats.org/officeDocument/2006/relationships/image" Target="../media/image63.svg"/><Relationship Id="rId33" Type="http://schemas.openxmlformats.org/officeDocument/2006/relationships/image" Target="../media/image79.svg"/><Relationship Id="rId38" Type="http://schemas.openxmlformats.org/officeDocument/2006/relationships/image" Target="../media/image84.png"/><Relationship Id="rId59" Type="http://schemas.openxmlformats.org/officeDocument/2006/relationships/image" Target="../media/image105.svg"/><Relationship Id="rId103" Type="http://schemas.openxmlformats.org/officeDocument/2006/relationships/image" Target="../media/image148.png"/><Relationship Id="rId108" Type="http://schemas.openxmlformats.org/officeDocument/2006/relationships/image" Target="../media/image150.png"/><Relationship Id="rId54" Type="http://schemas.openxmlformats.org/officeDocument/2006/relationships/image" Target="../media/image100.png"/><Relationship Id="rId70" Type="http://schemas.openxmlformats.org/officeDocument/2006/relationships/image" Target="../media/image116.emf"/><Relationship Id="rId75" Type="http://schemas.openxmlformats.org/officeDocument/2006/relationships/image" Target="../media/image121.svg"/><Relationship Id="rId91" Type="http://schemas.openxmlformats.org/officeDocument/2006/relationships/image" Target="../media/image137.svg"/><Relationship Id="rId96" Type="http://schemas.openxmlformats.org/officeDocument/2006/relationships/image" Target="../media/image141.png"/><Relationship Id="rId1" Type="http://schemas.openxmlformats.org/officeDocument/2006/relationships/tags" Target="../tags/tag3.xml"/><Relationship Id="rId6" Type="http://schemas.openxmlformats.org/officeDocument/2006/relationships/image" Target="../media/image49.emf"/><Relationship Id="rId23" Type="http://schemas.openxmlformats.org/officeDocument/2006/relationships/image" Target="../media/image69.svg"/><Relationship Id="rId28" Type="http://schemas.openxmlformats.org/officeDocument/2006/relationships/image" Target="../media/image74.png"/><Relationship Id="rId49" Type="http://schemas.openxmlformats.org/officeDocument/2006/relationships/image" Target="../media/image95.svg"/><Relationship Id="rId114" Type="http://schemas.openxmlformats.org/officeDocument/2006/relationships/image" Target="../media/image156.png"/><Relationship Id="rId119" Type="http://schemas.openxmlformats.org/officeDocument/2006/relationships/image" Target="../media/image161.png"/><Relationship Id="rId44" Type="http://schemas.openxmlformats.org/officeDocument/2006/relationships/image" Target="../media/image90.png"/><Relationship Id="rId60" Type="http://schemas.openxmlformats.org/officeDocument/2006/relationships/image" Target="../media/image106.png"/><Relationship Id="rId65" Type="http://schemas.openxmlformats.org/officeDocument/2006/relationships/image" Target="../media/image111.svg"/><Relationship Id="rId81" Type="http://schemas.openxmlformats.org/officeDocument/2006/relationships/image" Target="../media/image127.svg"/><Relationship Id="rId86" Type="http://schemas.openxmlformats.org/officeDocument/2006/relationships/image" Target="../media/image132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55.svg"/><Relationship Id="rId13" Type="http://schemas.openxmlformats.org/officeDocument/2006/relationships/image" Target="../media/image59.svg"/><Relationship Id="rId18" Type="http://schemas.openxmlformats.org/officeDocument/2006/relationships/image" Target="../media/image64.png"/><Relationship Id="rId39" Type="http://schemas.openxmlformats.org/officeDocument/2006/relationships/image" Target="../media/image85.svg"/><Relationship Id="rId109" Type="http://schemas.openxmlformats.org/officeDocument/2006/relationships/image" Target="../media/image151.svg"/><Relationship Id="rId34" Type="http://schemas.openxmlformats.org/officeDocument/2006/relationships/image" Target="../media/image80.png"/><Relationship Id="rId50" Type="http://schemas.openxmlformats.org/officeDocument/2006/relationships/image" Target="../media/image96.png"/><Relationship Id="rId55" Type="http://schemas.openxmlformats.org/officeDocument/2006/relationships/image" Target="../media/image101.svg"/><Relationship Id="rId76" Type="http://schemas.openxmlformats.org/officeDocument/2006/relationships/image" Target="../media/image122.png"/><Relationship Id="rId97" Type="http://schemas.openxmlformats.org/officeDocument/2006/relationships/image" Target="../media/image142.png"/><Relationship Id="rId104" Type="http://schemas.openxmlformats.org/officeDocument/2006/relationships/image" Target="../media/image149.svg"/><Relationship Id="rId120" Type="http://schemas.openxmlformats.org/officeDocument/2006/relationships/image" Target="../media/image162.svg"/><Relationship Id="rId7" Type="http://schemas.openxmlformats.org/officeDocument/2006/relationships/image" Target="../media/image53.emf"/><Relationship Id="rId71" Type="http://schemas.openxmlformats.org/officeDocument/2006/relationships/image" Target="../media/image117.png"/><Relationship Id="rId92" Type="http://schemas.openxmlformats.org/officeDocument/2006/relationships/image" Target="../media/image138.png"/><Relationship Id="rId2" Type="http://schemas.openxmlformats.org/officeDocument/2006/relationships/audio" Target="NULL" TargetMode="External"/><Relationship Id="rId29" Type="http://schemas.openxmlformats.org/officeDocument/2006/relationships/image" Target="../media/image75.svg"/><Relationship Id="rId24" Type="http://schemas.openxmlformats.org/officeDocument/2006/relationships/image" Target="../media/image70.png"/><Relationship Id="rId40" Type="http://schemas.openxmlformats.org/officeDocument/2006/relationships/image" Target="../media/image86.png"/><Relationship Id="rId45" Type="http://schemas.openxmlformats.org/officeDocument/2006/relationships/image" Target="../media/image91.svg"/><Relationship Id="rId66" Type="http://schemas.openxmlformats.org/officeDocument/2006/relationships/image" Target="../media/image112.png"/><Relationship Id="rId87" Type="http://schemas.openxmlformats.org/officeDocument/2006/relationships/image" Target="../media/image133.svg"/><Relationship Id="rId110" Type="http://schemas.openxmlformats.org/officeDocument/2006/relationships/image" Target="../media/image152.png"/><Relationship Id="rId115" Type="http://schemas.openxmlformats.org/officeDocument/2006/relationships/image" Target="../media/image157.png"/><Relationship Id="rId61" Type="http://schemas.openxmlformats.org/officeDocument/2006/relationships/image" Target="../media/image107.svg"/><Relationship Id="rId82" Type="http://schemas.openxmlformats.org/officeDocument/2006/relationships/image" Target="../media/image128.png"/><Relationship Id="rId19" Type="http://schemas.openxmlformats.org/officeDocument/2006/relationships/image" Target="../media/image65.svg"/><Relationship Id="rId14" Type="http://schemas.openxmlformats.org/officeDocument/2006/relationships/image" Target="../media/image60.png"/><Relationship Id="rId30" Type="http://schemas.openxmlformats.org/officeDocument/2006/relationships/image" Target="../media/image76.png"/><Relationship Id="rId35" Type="http://schemas.openxmlformats.org/officeDocument/2006/relationships/image" Target="../media/image81.svg"/><Relationship Id="rId56" Type="http://schemas.openxmlformats.org/officeDocument/2006/relationships/image" Target="../media/image102.png"/><Relationship Id="rId77" Type="http://schemas.openxmlformats.org/officeDocument/2006/relationships/image" Target="../media/image123.svg"/><Relationship Id="rId100" Type="http://schemas.openxmlformats.org/officeDocument/2006/relationships/image" Target="../media/image145.svg"/><Relationship Id="rId105" Type="http://schemas.microsoft.com/office/2007/relationships/hdphoto" Target="../media/hdphoto18.wdp"/><Relationship Id="rId8" Type="http://schemas.openxmlformats.org/officeDocument/2006/relationships/image" Target="../media/image54.png"/><Relationship Id="rId51" Type="http://schemas.openxmlformats.org/officeDocument/2006/relationships/image" Target="../media/image97.svg"/><Relationship Id="rId72" Type="http://schemas.openxmlformats.org/officeDocument/2006/relationships/image" Target="../media/image118.png"/><Relationship Id="rId93" Type="http://schemas.microsoft.com/office/2007/relationships/hdphoto" Target="../media/hdphoto17.wdp"/><Relationship Id="rId98" Type="http://schemas.openxmlformats.org/officeDocument/2006/relationships/image" Target="../media/image143.svg"/><Relationship Id="rId121" Type="http://schemas.openxmlformats.org/officeDocument/2006/relationships/image" Target="../media/image163.png"/><Relationship Id="rId3" Type="http://schemas.microsoft.com/office/2007/relationships/media" Target="../media/media1.mp3"/><Relationship Id="rId25" Type="http://schemas.openxmlformats.org/officeDocument/2006/relationships/image" Target="../media/image71.svg"/><Relationship Id="rId46" Type="http://schemas.openxmlformats.org/officeDocument/2006/relationships/image" Target="../media/image92.png"/><Relationship Id="rId67" Type="http://schemas.openxmlformats.org/officeDocument/2006/relationships/image" Target="../media/image113.svg"/><Relationship Id="rId116" Type="http://schemas.openxmlformats.org/officeDocument/2006/relationships/image" Target="../media/image158.svg"/><Relationship Id="rId20" Type="http://schemas.openxmlformats.org/officeDocument/2006/relationships/image" Target="../media/image66.png"/><Relationship Id="rId41" Type="http://schemas.openxmlformats.org/officeDocument/2006/relationships/image" Target="../media/image87.svg"/><Relationship Id="rId62" Type="http://schemas.openxmlformats.org/officeDocument/2006/relationships/image" Target="../media/image108.png"/><Relationship Id="rId83" Type="http://schemas.openxmlformats.org/officeDocument/2006/relationships/image" Target="../media/image129.svg"/><Relationship Id="rId88" Type="http://schemas.openxmlformats.org/officeDocument/2006/relationships/image" Target="../media/image134.png"/><Relationship Id="rId111" Type="http://schemas.openxmlformats.org/officeDocument/2006/relationships/image" Target="../media/image153.png"/><Relationship Id="rId15" Type="http://schemas.openxmlformats.org/officeDocument/2006/relationships/image" Target="../media/image61.svg"/><Relationship Id="rId36" Type="http://schemas.openxmlformats.org/officeDocument/2006/relationships/image" Target="../media/image82.png"/><Relationship Id="rId57" Type="http://schemas.openxmlformats.org/officeDocument/2006/relationships/image" Target="../media/image103.svg"/><Relationship Id="rId106" Type="http://schemas.microsoft.com/office/2007/relationships/hdphoto" Target="../media/hdphoto19.wdp"/><Relationship Id="rId10" Type="http://schemas.openxmlformats.org/officeDocument/2006/relationships/image" Target="../media/image56.png"/><Relationship Id="rId31" Type="http://schemas.openxmlformats.org/officeDocument/2006/relationships/image" Target="../media/image77.svg"/><Relationship Id="rId52" Type="http://schemas.openxmlformats.org/officeDocument/2006/relationships/image" Target="../media/image98.png"/><Relationship Id="rId73" Type="http://schemas.openxmlformats.org/officeDocument/2006/relationships/image" Target="../media/image119.svg"/><Relationship Id="rId78" Type="http://schemas.openxmlformats.org/officeDocument/2006/relationships/image" Target="../media/image124.png"/><Relationship Id="rId94" Type="http://schemas.openxmlformats.org/officeDocument/2006/relationships/image" Target="../media/image139.png"/><Relationship Id="rId99" Type="http://schemas.openxmlformats.org/officeDocument/2006/relationships/image" Target="../media/image144.png"/><Relationship Id="rId101" Type="http://schemas.openxmlformats.org/officeDocument/2006/relationships/image" Target="../media/image146.png"/><Relationship Id="rId122" Type="http://schemas.openxmlformats.org/officeDocument/2006/relationships/image" Target="../media/image16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jpeg"/><Relationship Id="rId13" Type="http://schemas.openxmlformats.org/officeDocument/2006/relationships/image" Target="../media/image173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7.jpeg"/><Relationship Id="rId12" Type="http://schemas.openxmlformats.org/officeDocument/2006/relationships/image" Target="../media/image172.png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4.xml"/><Relationship Id="rId6" Type="http://schemas.openxmlformats.org/officeDocument/2006/relationships/image" Target="../media/image166.jpeg"/><Relationship Id="rId11" Type="http://schemas.openxmlformats.org/officeDocument/2006/relationships/image" Target="../media/image171.jpeg"/><Relationship Id="rId5" Type="http://schemas.openxmlformats.org/officeDocument/2006/relationships/image" Target="../media/image49.emf"/><Relationship Id="rId10" Type="http://schemas.openxmlformats.org/officeDocument/2006/relationships/image" Target="../media/image170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6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5.xml"/><Relationship Id="rId5" Type="http://schemas.openxmlformats.org/officeDocument/2006/relationships/image" Target="../media/image174.jpeg"/><Relationship Id="rId4" Type="http://schemas.openxmlformats.org/officeDocument/2006/relationships/image" Target="../media/image4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emf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6.xml"/><Relationship Id="rId5" Type="http://schemas.openxmlformats.org/officeDocument/2006/relationships/image" Target="../media/image367.png"/><Relationship Id="rId4" Type="http://schemas.microsoft.com/office/2014/relationships/chartEx" Target="../charts/chartEx1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80.png"/><Relationship Id="rId21" Type="http://schemas.openxmlformats.org/officeDocument/2006/relationships/image" Target="../media/image75.svg"/><Relationship Id="rId42" Type="http://schemas.openxmlformats.org/officeDocument/2006/relationships/image" Target="../media/image188.svg"/><Relationship Id="rId47" Type="http://schemas.openxmlformats.org/officeDocument/2006/relationships/image" Target="../media/image193.png"/><Relationship Id="rId63" Type="http://schemas.openxmlformats.org/officeDocument/2006/relationships/image" Target="../media/image209.png"/><Relationship Id="rId68" Type="http://schemas.openxmlformats.org/officeDocument/2006/relationships/image" Target="../media/image214.svg"/><Relationship Id="rId84" Type="http://schemas.microsoft.com/office/2007/relationships/hdphoto" Target="../media/hdphoto22.wdp"/><Relationship Id="rId89" Type="http://schemas.openxmlformats.org/officeDocument/2006/relationships/image" Target="../media/image226.png"/><Relationship Id="rId16" Type="http://schemas.openxmlformats.org/officeDocument/2006/relationships/image" Target="../media/image70.png"/><Relationship Id="rId11" Type="http://schemas.openxmlformats.org/officeDocument/2006/relationships/image" Target="../media/image65.svg"/><Relationship Id="rId32" Type="http://schemas.openxmlformats.org/officeDocument/2006/relationships/image" Target="../media/image178.svg"/><Relationship Id="rId37" Type="http://schemas.openxmlformats.org/officeDocument/2006/relationships/image" Target="../media/image183.png"/><Relationship Id="rId53" Type="http://schemas.openxmlformats.org/officeDocument/2006/relationships/image" Target="../media/image199.png"/><Relationship Id="rId58" Type="http://schemas.openxmlformats.org/officeDocument/2006/relationships/image" Target="../media/image204.svg"/><Relationship Id="rId74" Type="http://schemas.openxmlformats.org/officeDocument/2006/relationships/image" Target="../media/image220.svg"/><Relationship Id="rId79" Type="http://schemas.openxmlformats.org/officeDocument/2006/relationships/image" Target="../media/image138.png"/><Relationship Id="rId5" Type="http://schemas.openxmlformats.org/officeDocument/2006/relationships/image" Target="../media/image49.emf"/><Relationship Id="rId90" Type="http://schemas.openxmlformats.org/officeDocument/2006/relationships/image" Target="../media/image227.svg"/><Relationship Id="rId14" Type="http://schemas.openxmlformats.org/officeDocument/2006/relationships/image" Target="../media/image68.png"/><Relationship Id="rId22" Type="http://schemas.openxmlformats.org/officeDocument/2006/relationships/image" Target="../media/image76.png"/><Relationship Id="rId27" Type="http://schemas.openxmlformats.org/officeDocument/2006/relationships/image" Target="../media/image81.svg"/><Relationship Id="rId30" Type="http://schemas.openxmlformats.org/officeDocument/2006/relationships/image" Target="../media/image176.emf"/><Relationship Id="rId35" Type="http://schemas.openxmlformats.org/officeDocument/2006/relationships/image" Target="../media/image181.png"/><Relationship Id="rId43" Type="http://schemas.openxmlformats.org/officeDocument/2006/relationships/image" Target="../media/image189.png"/><Relationship Id="rId48" Type="http://schemas.openxmlformats.org/officeDocument/2006/relationships/image" Target="../media/image194.svg"/><Relationship Id="rId56" Type="http://schemas.openxmlformats.org/officeDocument/2006/relationships/image" Target="../media/image202.svg"/><Relationship Id="rId64" Type="http://schemas.openxmlformats.org/officeDocument/2006/relationships/image" Target="../media/image210.svg"/><Relationship Id="rId69" Type="http://schemas.openxmlformats.org/officeDocument/2006/relationships/image" Target="../media/image215.png"/><Relationship Id="rId77" Type="http://schemas.openxmlformats.org/officeDocument/2006/relationships/image" Target="../media/image116.emf"/><Relationship Id="rId8" Type="http://schemas.openxmlformats.org/officeDocument/2006/relationships/image" Target="../media/image62.png"/><Relationship Id="rId51" Type="http://schemas.openxmlformats.org/officeDocument/2006/relationships/image" Target="../media/image197.png"/><Relationship Id="rId72" Type="http://schemas.openxmlformats.org/officeDocument/2006/relationships/image" Target="../media/image218.svg"/><Relationship Id="rId80" Type="http://schemas.microsoft.com/office/2007/relationships/hdphoto" Target="../media/hdphoto20.wdp"/><Relationship Id="rId85" Type="http://schemas.microsoft.com/office/2007/relationships/hdphoto" Target="../media/hdphoto23.wdp"/><Relationship Id="rId3" Type="http://schemas.openxmlformats.org/officeDocument/2006/relationships/notesSlide" Target="../notesSlides/notesSlide2.xml"/><Relationship Id="rId12" Type="http://schemas.openxmlformats.org/officeDocument/2006/relationships/image" Target="../media/image66.png"/><Relationship Id="rId17" Type="http://schemas.openxmlformats.org/officeDocument/2006/relationships/image" Target="../media/image71.svg"/><Relationship Id="rId25" Type="http://schemas.openxmlformats.org/officeDocument/2006/relationships/image" Target="../media/image79.svg"/><Relationship Id="rId33" Type="http://schemas.openxmlformats.org/officeDocument/2006/relationships/image" Target="../media/image179.png"/><Relationship Id="rId38" Type="http://schemas.openxmlformats.org/officeDocument/2006/relationships/image" Target="../media/image184.svg"/><Relationship Id="rId46" Type="http://schemas.openxmlformats.org/officeDocument/2006/relationships/image" Target="../media/image192.svg"/><Relationship Id="rId59" Type="http://schemas.openxmlformats.org/officeDocument/2006/relationships/image" Target="../media/image205.png"/><Relationship Id="rId67" Type="http://schemas.openxmlformats.org/officeDocument/2006/relationships/image" Target="../media/image213.png"/><Relationship Id="rId20" Type="http://schemas.openxmlformats.org/officeDocument/2006/relationships/image" Target="../media/image74.png"/><Relationship Id="rId41" Type="http://schemas.openxmlformats.org/officeDocument/2006/relationships/image" Target="../media/image187.png"/><Relationship Id="rId54" Type="http://schemas.openxmlformats.org/officeDocument/2006/relationships/image" Target="../media/image200.svg"/><Relationship Id="rId62" Type="http://schemas.openxmlformats.org/officeDocument/2006/relationships/image" Target="../media/image208.svg"/><Relationship Id="rId70" Type="http://schemas.openxmlformats.org/officeDocument/2006/relationships/image" Target="../media/image216.svg"/><Relationship Id="rId75" Type="http://schemas.openxmlformats.org/officeDocument/2006/relationships/image" Target="../media/image154.png"/><Relationship Id="rId83" Type="http://schemas.microsoft.com/office/2007/relationships/hdphoto" Target="../media/hdphoto21.wdp"/><Relationship Id="rId88" Type="http://schemas.openxmlformats.org/officeDocument/2006/relationships/image" Target="../media/image225.svg"/><Relationship Id="rId1" Type="http://schemas.openxmlformats.org/officeDocument/2006/relationships/tags" Target="../tags/tag7.xml"/><Relationship Id="rId6" Type="http://schemas.openxmlformats.org/officeDocument/2006/relationships/image" Target="../media/image60.png"/><Relationship Id="rId15" Type="http://schemas.openxmlformats.org/officeDocument/2006/relationships/image" Target="../media/image69.svg"/><Relationship Id="rId23" Type="http://schemas.openxmlformats.org/officeDocument/2006/relationships/image" Target="../media/image77.svg"/><Relationship Id="rId28" Type="http://schemas.openxmlformats.org/officeDocument/2006/relationships/image" Target="../media/image86.png"/><Relationship Id="rId36" Type="http://schemas.openxmlformats.org/officeDocument/2006/relationships/image" Target="../media/image182.svg"/><Relationship Id="rId49" Type="http://schemas.openxmlformats.org/officeDocument/2006/relationships/image" Target="../media/image195.png"/><Relationship Id="rId57" Type="http://schemas.openxmlformats.org/officeDocument/2006/relationships/image" Target="../media/image203.png"/><Relationship Id="rId10" Type="http://schemas.openxmlformats.org/officeDocument/2006/relationships/image" Target="../media/image64.png"/><Relationship Id="rId31" Type="http://schemas.openxmlformats.org/officeDocument/2006/relationships/image" Target="../media/image177.png"/><Relationship Id="rId44" Type="http://schemas.openxmlformats.org/officeDocument/2006/relationships/image" Target="../media/image190.svg"/><Relationship Id="rId52" Type="http://schemas.openxmlformats.org/officeDocument/2006/relationships/image" Target="../media/image198.svg"/><Relationship Id="rId60" Type="http://schemas.openxmlformats.org/officeDocument/2006/relationships/image" Target="../media/image206.svg"/><Relationship Id="rId65" Type="http://schemas.openxmlformats.org/officeDocument/2006/relationships/image" Target="../media/image211.png"/><Relationship Id="rId73" Type="http://schemas.openxmlformats.org/officeDocument/2006/relationships/image" Target="../media/image219.png"/><Relationship Id="rId78" Type="http://schemas.openxmlformats.org/officeDocument/2006/relationships/image" Target="../media/image221.png"/><Relationship Id="rId81" Type="http://schemas.openxmlformats.org/officeDocument/2006/relationships/image" Target="../media/image222.png"/><Relationship Id="rId86" Type="http://schemas.microsoft.com/office/2007/relationships/hdphoto" Target="../media/hdphoto19.wdp"/><Relationship Id="rId4" Type="http://schemas.openxmlformats.org/officeDocument/2006/relationships/oleObject" Target="../embeddings/oleObject6.bin"/><Relationship Id="rId9" Type="http://schemas.openxmlformats.org/officeDocument/2006/relationships/image" Target="../media/image63.svg"/><Relationship Id="rId13" Type="http://schemas.openxmlformats.org/officeDocument/2006/relationships/image" Target="../media/image67.svg"/><Relationship Id="rId18" Type="http://schemas.openxmlformats.org/officeDocument/2006/relationships/image" Target="../media/image72.png"/><Relationship Id="rId39" Type="http://schemas.openxmlformats.org/officeDocument/2006/relationships/image" Target="../media/image185.png"/><Relationship Id="rId34" Type="http://schemas.openxmlformats.org/officeDocument/2006/relationships/image" Target="../media/image180.svg"/><Relationship Id="rId50" Type="http://schemas.openxmlformats.org/officeDocument/2006/relationships/image" Target="../media/image196.svg"/><Relationship Id="rId55" Type="http://schemas.openxmlformats.org/officeDocument/2006/relationships/image" Target="../media/image201.png"/><Relationship Id="rId76" Type="http://schemas.openxmlformats.org/officeDocument/2006/relationships/image" Target="../media/image155.svg"/><Relationship Id="rId7" Type="http://schemas.openxmlformats.org/officeDocument/2006/relationships/image" Target="../media/image61.svg"/><Relationship Id="rId71" Type="http://schemas.openxmlformats.org/officeDocument/2006/relationships/image" Target="../media/image217.png"/><Relationship Id="rId2" Type="http://schemas.openxmlformats.org/officeDocument/2006/relationships/slideLayout" Target="../slideLayouts/slideLayout71.xml"/><Relationship Id="rId29" Type="http://schemas.openxmlformats.org/officeDocument/2006/relationships/image" Target="../media/image87.svg"/><Relationship Id="rId24" Type="http://schemas.openxmlformats.org/officeDocument/2006/relationships/image" Target="../media/image78.png"/><Relationship Id="rId40" Type="http://schemas.openxmlformats.org/officeDocument/2006/relationships/image" Target="../media/image186.svg"/><Relationship Id="rId45" Type="http://schemas.openxmlformats.org/officeDocument/2006/relationships/image" Target="../media/image191.png"/><Relationship Id="rId66" Type="http://schemas.openxmlformats.org/officeDocument/2006/relationships/image" Target="../media/image212.svg"/><Relationship Id="rId87" Type="http://schemas.openxmlformats.org/officeDocument/2006/relationships/image" Target="../media/image224.png"/><Relationship Id="rId61" Type="http://schemas.openxmlformats.org/officeDocument/2006/relationships/image" Target="../media/image207.png"/><Relationship Id="rId82" Type="http://schemas.openxmlformats.org/officeDocument/2006/relationships/image" Target="../media/image223.svg"/><Relationship Id="rId19" Type="http://schemas.openxmlformats.org/officeDocument/2006/relationships/image" Target="../media/image7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0.png"/><Relationship Id="rId13" Type="http://schemas.openxmlformats.org/officeDocument/2006/relationships/image" Target="../media/image23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9.svg"/><Relationship Id="rId12" Type="http://schemas.openxmlformats.org/officeDocument/2006/relationships/image" Target="../media/image234.png"/><Relationship Id="rId17" Type="http://schemas.openxmlformats.org/officeDocument/2006/relationships/image" Target="../media/image182.sv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181.png"/><Relationship Id="rId1" Type="http://schemas.openxmlformats.org/officeDocument/2006/relationships/tags" Target="../tags/tag8.xml"/><Relationship Id="rId6" Type="http://schemas.openxmlformats.org/officeDocument/2006/relationships/image" Target="../media/image228.png"/><Relationship Id="rId11" Type="http://schemas.openxmlformats.org/officeDocument/2006/relationships/image" Target="../media/image233.svg"/><Relationship Id="rId5" Type="http://schemas.openxmlformats.org/officeDocument/2006/relationships/image" Target="../media/image49.emf"/><Relationship Id="rId15" Type="http://schemas.openxmlformats.org/officeDocument/2006/relationships/image" Target="../media/image236.emf"/><Relationship Id="rId10" Type="http://schemas.openxmlformats.org/officeDocument/2006/relationships/image" Target="../media/image232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31.svg"/><Relationship Id="rId14" Type="http://schemas.openxmlformats.org/officeDocument/2006/relationships/image" Target="../media/image17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human face, person, person, collage&#10;&#10;Description automatically generated">
            <a:extLst>
              <a:ext uri="{FF2B5EF4-FFF2-40B4-BE49-F238E27FC236}">
                <a16:creationId xmlns:a16="http://schemas.microsoft.com/office/drawing/2014/main" id="{F90016EF-5E02-3748-42BC-9BE8F540997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00338D"/>
              </a:gs>
              <a:gs pos="1000">
                <a:srgbClr val="7A2582"/>
              </a:gs>
            </a:gsLst>
            <a:lin ang="18600000" scaled="0"/>
          </a:gradFill>
        </p:spPr>
      </p:pic>
      <p:sp>
        <p:nvSpPr>
          <p:cNvPr id="13" name="Freeform 12">
            <a:extLst>
              <a:ext uri="{FF2B5EF4-FFF2-40B4-BE49-F238E27FC236}">
                <a16:creationId xmlns:a16="http://schemas.microsoft.com/office/drawing/2014/main" id="{2E236949-5593-011E-4DF5-C5D5A30F802F}"/>
              </a:ext>
            </a:extLst>
          </p:cNvPr>
          <p:cNvSpPr/>
          <p:nvPr/>
        </p:nvSpPr>
        <p:spPr>
          <a:xfrm>
            <a:off x="6719908" y="-358"/>
            <a:ext cx="5472092" cy="6858357"/>
          </a:xfrm>
          <a:custGeom>
            <a:avLst/>
            <a:gdLst>
              <a:gd name="connsiteX0" fmla="*/ 4135447 w 5714999"/>
              <a:gd name="connsiteY0" fmla="*/ 0 h 7162800"/>
              <a:gd name="connsiteX1" fmla="*/ 5714999 w 5714999"/>
              <a:gd name="connsiteY1" fmla="*/ 0 h 7162800"/>
              <a:gd name="connsiteX2" fmla="*/ 5714999 w 5714999"/>
              <a:gd name="connsiteY2" fmla="*/ 7162800 h 7162800"/>
              <a:gd name="connsiteX3" fmla="*/ 0 w 5714999"/>
              <a:gd name="connsiteY3" fmla="*/ 7162800 h 716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4999" h="7162800">
                <a:moveTo>
                  <a:pt x="4135447" y="0"/>
                </a:moveTo>
                <a:lnTo>
                  <a:pt x="5714999" y="0"/>
                </a:lnTo>
                <a:lnTo>
                  <a:pt x="5714999" y="7162800"/>
                </a:lnTo>
                <a:lnTo>
                  <a:pt x="0" y="7162800"/>
                </a:lnTo>
                <a:close/>
              </a:path>
            </a:pathLst>
          </a:custGeom>
          <a:solidFill>
            <a:schemeClr val="bg1"/>
          </a:solidFill>
          <a:ln w="79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59738FE9-74F7-07F5-F8BF-A96A2CEDA620}"/>
              </a:ext>
            </a:extLst>
          </p:cNvPr>
          <p:cNvSpPr/>
          <p:nvPr/>
        </p:nvSpPr>
        <p:spPr>
          <a:xfrm>
            <a:off x="6719908" y="0"/>
            <a:ext cx="4176692" cy="6858000"/>
          </a:xfrm>
          <a:custGeom>
            <a:avLst/>
            <a:gdLst>
              <a:gd name="connsiteX0" fmla="*/ 3959471 w 4176692"/>
              <a:gd name="connsiteY0" fmla="*/ 0 h 6858000"/>
              <a:gd name="connsiteX1" fmla="*/ 4176692 w 4176692"/>
              <a:gd name="connsiteY1" fmla="*/ 0 h 6858000"/>
              <a:gd name="connsiteX2" fmla="*/ 134732 w 4176692"/>
              <a:gd name="connsiteY2" fmla="*/ 6858000 h 6858000"/>
              <a:gd name="connsiteX3" fmla="*/ 0 w 4176692"/>
              <a:gd name="connsiteY3" fmla="*/ 6858000 h 6858000"/>
              <a:gd name="connsiteX4" fmla="*/ 3959471 w 417669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6692" h="6858000">
                <a:moveTo>
                  <a:pt x="3959471" y="0"/>
                </a:moveTo>
                <a:lnTo>
                  <a:pt x="4176692" y="0"/>
                </a:lnTo>
                <a:lnTo>
                  <a:pt x="134732" y="6858000"/>
                </a:lnTo>
                <a:lnTo>
                  <a:pt x="0" y="6858000"/>
                </a:lnTo>
                <a:lnTo>
                  <a:pt x="3959471" y="0"/>
                </a:lnTo>
                <a:close/>
              </a:path>
            </a:pathLst>
          </a:custGeom>
          <a:solidFill>
            <a:srgbClr val="10233F">
              <a:alpha val="13373"/>
            </a:srgbClr>
          </a:soli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1A7F4C8-9E45-7BE6-E75D-EC776CE61D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391400" y="2057400"/>
            <a:ext cx="2491108" cy="2366552"/>
          </a:xfrm>
          <a:prstGeom prst="rect">
            <a:avLst/>
          </a:prstGeom>
        </p:spPr>
      </p:pic>
      <p:sp>
        <p:nvSpPr>
          <p:cNvPr id="11" name="Page Number - Blue">
            <a:extLst>
              <a:ext uri="{FF2B5EF4-FFF2-40B4-BE49-F238E27FC236}">
                <a16:creationId xmlns:a16="http://schemas.microsoft.com/office/drawing/2014/main" id="{698CD74B-E337-A241-98BF-C5DF0C4EF4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6" y="6400725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0338D"/>
                </a:solidFill>
              </a:rPr>
              <a:pPr eaLnBrk="0" hangingPunct="0">
                <a:spcBef>
                  <a:spcPct val="50000"/>
                </a:spcBef>
                <a:defRPr/>
              </a:pPr>
              <a:t>1</a:t>
            </a:fld>
            <a:endParaRPr lang="en-US" sz="1000" dirty="0">
              <a:solidFill>
                <a:srgbClr val="00338D"/>
              </a:solidFill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3A5C7BD0-1ABD-70DE-F011-38EF7D12BF7F}"/>
              </a:ext>
            </a:extLst>
          </p:cNvPr>
          <p:cNvSpPr txBox="1">
            <a:spLocks/>
          </p:cNvSpPr>
          <p:nvPr/>
        </p:nvSpPr>
        <p:spPr>
          <a:xfrm>
            <a:off x="914400" y="990600"/>
            <a:ext cx="8001000" cy="4800600"/>
          </a:xfrm>
          <a:prstGeom prst="rect">
            <a:avLst/>
          </a:prstGeom>
        </p:spPr>
        <p:txBody>
          <a:bodyPr anchor="b" anchorCtr="0"/>
          <a:lstStyle>
            <a:lvl1pPr marL="230182" indent="-2301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746107" indent="-227008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1144559" indent="-2301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598573" indent="-22700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▫"/>
              <a:defRPr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2058937" indent="-2301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ts val="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0" b="1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ions Project 2024: </a:t>
            </a:r>
          </a:p>
          <a:p>
            <a:pPr marL="0" indent="0">
              <a:lnSpc>
                <a:spcPts val="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0" b="1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toves to Ukraine</a:t>
            </a:r>
          </a:p>
          <a:p>
            <a:pPr marL="0" indent="0">
              <a:lnSpc>
                <a:spcPts val="7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6000" b="1" kern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marL="0" indent="0">
              <a:lnSpc>
                <a:spcPts val="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0" b="1" kern="0" dirty="0" err="1">
                <a:solidFill>
                  <a:srgbClr val="EBB700"/>
                </a:solidFill>
                <a:latin typeface="Arial" charset="0"/>
                <a:ea typeface="Arial" charset="0"/>
                <a:cs typeface="Arial" charset="0"/>
              </a:rPr>
              <a:t>Projectizing</a:t>
            </a:r>
            <a:r>
              <a:rPr lang="en-US" sz="6000" b="1" kern="0" dirty="0">
                <a:solidFill>
                  <a:srgbClr val="EBB700"/>
                </a:solidFill>
                <a:latin typeface="Arial" charset="0"/>
                <a:ea typeface="Arial" charset="0"/>
                <a:cs typeface="Arial" charset="0"/>
              </a:rPr>
              <a:t> LCIF donations</a:t>
            </a:r>
          </a:p>
        </p:txBody>
      </p:sp>
      <p:sp>
        <p:nvSpPr>
          <p:cNvPr id="4" name="Yellow Bar">
            <a:extLst>
              <a:ext uri="{FF2B5EF4-FFF2-40B4-BE49-F238E27FC236}">
                <a16:creationId xmlns:a16="http://schemas.microsoft.com/office/drawing/2014/main" id="{E4AE9751-7D17-A2FA-C3CA-F097073A25A9}"/>
              </a:ext>
            </a:extLst>
          </p:cNvPr>
          <p:cNvSpPr/>
          <p:nvPr/>
        </p:nvSpPr>
        <p:spPr>
          <a:xfrm>
            <a:off x="1069244" y="3733800"/>
            <a:ext cx="2359756" cy="97542"/>
          </a:xfrm>
          <a:prstGeom prst="rect">
            <a:avLst/>
          </a:prstGeom>
          <a:solidFill>
            <a:srgbClr val="EBB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 dirty="0"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12" name="Subhead">
            <a:extLst>
              <a:ext uri="{FF2B5EF4-FFF2-40B4-BE49-F238E27FC236}">
                <a16:creationId xmlns:a16="http://schemas.microsoft.com/office/drawing/2014/main" id="{3935A088-4B69-8478-3052-BAD0B110FB69}"/>
              </a:ext>
            </a:extLst>
          </p:cNvPr>
          <p:cNvSpPr txBox="1">
            <a:spLocks/>
          </p:cNvSpPr>
          <p:nvPr/>
        </p:nvSpPr>
        <p:spPr>
          <a:xfrm>
            <a:off x="1016000" y="6248400"/>
            <a:ext cx="4699000" cy="457200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746107" indent="-227008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1144559" indent="-2301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598573" indent="-22700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▫"/>
              <a:defRPr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2058937" indent="-2301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b="1" kern="0" dirty="0"/>
              <a:t>LCIF Area Leader Jyri Kurki</a:t>
            </a:r>
          </a:p>
        </p:txBody>
      </p:sp>
    </p:spTree>
    <p:extLst>
      <p:ext uri="{BB962C8B-B14F-4D97-AF65-F5344CB8AC3E}">
        <p14:creationId xmlns:p14="http://schemas.microsoft.com/office/powerpoint/2010/main" val="30000084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A18D498-A3EB-CBAD-6132-6D67B289A2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310" y="767906"/>
            <a:ext cx="7442145" cy="34754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1783AE-D5A7-41A0-46E6-F295DB5556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7480" y="1228723"/>
            <a:ext cx="3664746" cy="488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01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0DB7A9E-ACDA-51C5-5672-FC36FC27B36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463" y="1344214"/>
            <a:ext cx="7786687" cy="36363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3A0407-260E-E2AF-403E-206F9EC075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4425" y="614362"/>
            <a:ext cx="2667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15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CDB003-D1E3-0330-08E4-02366DF47B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3375" y="1300162"/>
            <a:ext cx="3829050" cy="3829050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C1B93BB4-124C-571E-6F2C-2A78F210F5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7406" y="1609149"/>
            <a:ext cx="4081319" cy="2484581"/>
          </a:xfrm>
        </p:spPr>
        <p:txBody>
          <a:bodyPr>
            <a:noAutofit/>
          </a:bodyPr>
          <a:lstStyle/>
          <a:p>
            <a:r>
              <a:rPr lang="en-US" sz="3200" dirty="0">
                <a:latin typeface="Calibri"/>
                <a:ea typeface="Calibri"/>
                <a:cs typeface="Calibri"/>
              </a:rPr>
              <a:t>Thank you!</a:t>
            </a:r>
            <a:b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200" dirty="0">
              <a:latin typeface="+mj-ea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CD5305-5EC8-F636-35F6-8CD7E39887B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187" y="876300"/>
            <a:ext cx="3829050" cy="5105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08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DD56CF5-04DC-C995-EB8C-0A3C1DFC0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D56CF5-04DC-C995-EB8C-0A3C1DFC0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 descr="Kuva, joka sisältää kohteen vaate, henkilö, piha-, kasvi&#10;&#10;Kuvaus luotu automaattisesti">
            <a:extLst>
              <a:ext uri="{FF2B5EF4-FFF2-40B4-BE49-F238E27FC236}">
                <a16:creationId xmlns:a16="http://schemas.microsoft.com/office/drawing/2014/main" id="{25E78D63-2A55-AAAC-CCB1-5D21F95BD1A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9906000" cy="6868888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59A80FA-D392-0112-3C6F-036753D953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23115" y="0"/>
            <a:ext cx="6868885" cy="6868885"/>
          </a:xfrm>
          <a:prstGeom prst="rect">
            <a:avLst/>
          </a:prstGeom>
        </p:spPr>
      </p:pic>
      <p:sp>
        <p:nvSpPr>
          <p:cNvPr id="17" name="Page Number - Blue">
            <a:extLst>
              <a:ext uri="{FF2B5EF4-FFF2-40B4-BE49-F238E27FC236}">
                <a16:creationId xmlns:a16="http://schemas.microsoft.com/office/drawing/2014/main" id="{3C1A4821-6138-D1AF-632A-A54943FC09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6" y="6400725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0338D"/>
                </a:solidFill>
              </a:rPr>
              <a:pPr eaLnBrk="0" hangingPunct="0">
                <a:spcBef>
                  <a:spcPct val="50000"/>
                </a:spcBef>
                <a:defRPr/>
              </a:pPr>
              <a:t>2</a:t>
            </a:fld>
            <a:endParaRPr lang="en-US" sz="1000" dirty="0">
              <a:solidFill>
                <a:srgbClr val="00338D"/>
              </a:solidFill>
            </a:endParaRPr>
          </a:p>
        </p:txBody>
      </p:sp>
      <p:sp>
        <p:nvSpPr>
          <p:cNvPr id="19" name="Graphic 35">
            <a:extLst>
              <a:ext uri="{FF2B5EF4-FFF2-40B4-BE49-F238E27FC236}">
                <a16:creationId xmlns:a16="http://schemas.microsoft.com/office/drawing/2014/main" id="{4867B118-CC87-C030-FE22-48E2F2ACA618}"/>
              </a:ext>
            </a:extLst>
          </p:cNvPr>
          <p:cNvSpPr/>
          <p:nvPr/>
        </p:nvSpPr>
        <p:spPr>
          <a:xfrm rot="10800000">
            <a:off x="-5444" y="-1"/>
            <a:ext cx="3358243" cy="5816643"/>
          </a:xfrm>
          <a:custGeom>
            <a:avLst/>
            <a:gdLst>
              <a:gd name="connsiteX0" fmla="*/ 0 w 1451806"/>
              <a:gd name="connsiteY0" fmla="*/ 2514600 h 2514600"/>
              <a:gd name="connsiteX1" fmla="*/ 1451806 w 1451806"/>
              <a:gd name="connsiteY1" fmla="*/ 0 h 2514600"/>
              <a:gd name="connsiteX2" fmla="*/ 1451806 w 1451806"/>
              <a:gd name="connsiteY2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1806" h="2514600">
                <a:moveTo>
                  <a:pt x="0" y="2514600"/>
                </a:moveTo>
                <a:lnTo>
                  <a:pt x="1451806" y="0"/>
                </a:lnTo>
                <a:lnTo>
                  <a:pt x="1451806" y="2514600"/>
                </a:lnTo>
                <a:close/>
              </a:path>
            </a:pathLst>
          </a:custGeom>
          <a:gradFill>
            <a:gsLst>
              <a:gs pos="0">
                <a:srgbClr val="7A2582"/>
              </a:gs>
              <a:gs pos="100000">
                <a:srgbClr val="00338D"/>
              </a:gs>
            </a:gsLst>
            <a:lin ang="19800000" scaled="0"/>
          </a:gradFill>
          <a:ln w="29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Graphic 19">
            <a:extLst>
              <a:ext uri="{FF2B5EF4-FFF2-40B4-BE49-F238E27FC236}">
                <a16:creationId xmlns:a16="http://schemas.microsoft.com/office/drawing/2014/main" id="{18438AA2-DEBE-A3F0-6F8F-7FFBA683E0BB}"/>
              </a:ext>
            </a:extLst>
          </p:cNvPr>
          <p:cNvSpPr/>
          <p:nvPr/>
        </p:nvSpPr>
        <p:spPr>
          <a:xfrm rot="10800000">
            <a:off x="-5445" y="-2"/>
            <a:ext cx="2683642" cy="4648202"/>
          </a:xfrm>
          <a:custGeom>
            <a:avLst/>
            <a:gdLst>
              <a:gd name="connsiteX0" fmla="*/ 0 w 2683642"/>
              <a:gd name="connsiteY0" fmla="*/ 4648202 h 4648202"/>
              <a:gd name="connsiteX1" fmla="*/ 2683643 w 2683642"/>
              <a:gd name="connsiteY1" fmla="*/ 0 h 4648202"/>
              <a:gd name="connsiteX2" fmla="*/ 2683643 w 2683642"/>
              <a:gd name="connsiteY2" fmla="*/ 4648202 h 4648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3642" h="4648202">
                <a:moveTo>
                  <a:pt x="0" y="4648202"/>
                </a:moveTo>
                <a:lnTo>
                  <a:pt x="2683643" y="0"/>
                </a:lnTo>
                <a:lnTo>
                  <a:pt x="2683643" y="4648202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 w="53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Graphic 20">
            <a:extLst>
              <a:ext uri="{FF2B5EF4-FFF2-40B4-BE49-F238E27FC236}">
                <a16:creationId xmlns:a16="http://schemas.microsoft.com/office/drawing/2014/main" id="{668F856F-016A-B978-A75A-A115766B1824}"/>
              </a:ext>
            </a:extLst>
          </p:cNvPr>
          <p:cNvSpPr/>
          <p:nvPr/>
        </p:nvSpPr>
        <p:spPr>
          <a:xfrm rot="10800000">
            <a:off x="0" y="-2"/>
            <a:ext cx="2047900" cy="3547065"/>
          </a:xfrm>
          <a:custGeom>
            <a:avLst/>
            <a:gdLst>
              <a:gd name="connsiteX0" fmla="*/ 0 w 2047900"/>
              <a:gd name="connsiteY0" fmla="*/ 3547066 h 3547065"/>
              <a:gd name="connsiteX1" fmla="*/ 2047901 w 2047900"/>
              <a:gd name="connsiteY1" fmla="*/ 0 h 3547065"/>
              <a:gd name="connsiteX2" fmla="*/ 2047901 w 2047900"/>
              <a:gd name="connsiteY2" fmla="*/ 3547066 h 3547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7900" h="3547065">
                <a:moveTo>
                  <a:pt x="0" y="3547066"/>
                </a:moveTo>
                <a:lnTo>
                  <a:pt x="2047901" y="0"/>
                </a:lnTo>
                <a:lnTo>
                  <a:pt x="2047901" y="3547066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 w="41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Body Copy">
            <a:extLst>
              <a:ext uri="{FF2B5EF4-FFF2-40B4-BE49-F238E27FC236}">
                <a16:creationId xmlns:a16="http://schemas.microsoft.com/office/drawing/2014/main" id="{2730FBFF-398E-73C9-7D96-6CBD72298E87}"/>
              </a:ext>
            </a:extLst>
          </p:cNvPr>
          <p:cNvSpPr txBox="1">
            <a:spLocks/>
          </p:cNvSpPr>
          <p:nvPr/>
        </p:nvSpPr>
        <p:spPr>
          <a:xfrm>
            <a:off x="6511835" y="3429000"/>
            <a:ext cx="5334000" cy="214377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SzPct val="120000"/>
            </a:pPr>
            <a: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Great story of how </a:t>
            </a:r>
            <a:b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CIF donations were successfully concepted </a:t>
            </a:r>
            <a:b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o crowdfunding project with concrete productized donations.</a:t>
            </a:r>
          </a:p>
        </p:txBody>
      </p:sp>
      <p:sp>
        <p:nvSpPr>
          <p:cNvPr id="3" name="Body Copy">
            <a:extLst>
              <a:ext uri="{FF2B5EF4-FFF2-40B4-BE49-F238E27FC236}">
                <a16:creationId xmlns:a16="http://schemas.microsoft.com/office/drawing/2014/main" id="{5EEC6C63-F88E-8893-7FC1-0BE4EC25F0D4}"/>
              </a:ext>
            </a:extLst>
          </p:cNvPr>
          <p:cNvSpPr txBox="1">
            <a:spLocks/>
          </p:cNvSpPr>
          <p:nvPr/>
        </p:nvSpPr>
        <p:spPr>
          <a:xfrm>
            <a:off x="8229600" y="1415911"/>
            <a:ext cx="3276600" cy="1653860"/>
          </a:xfrm>
          <a:prstGeom prst="rect">
            <a:avLst/>
          </a:prstGeom>
        </p:spPr>
        <p:txBody>
          <a:bodyPr anchor="b" anchorCtr="0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SzPct val="120000"/>
            </a:pPr>
            <a:r>
              <a:rPr lang="en-US" sz="4800" b="1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A4F70C-E331-E9F8-295D-3D8163CEE188}"/>
              </a:ext>
            </a:extLst>
          </p:cNvPr>
          <p:cNvSpPr/>
          <p:nvPr/>
        </p:nvSpPr>
        <p:spPr>
          <a:xfrm rot="5400000" flipH="1">
            <a:off x="10161590" y="1906906"/>
            <a:ext cx="64411" cy="2624808"/>
          </a:xfrm>
          <a:prstGeom prst="rect">
            <a:avLst/>
          </a:prstGeom>
          <a:solidFill>
            <a:srgbClr val="EBB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r"/>
            <a:endParaRPr lang="en-US">
              <a:solidFill>
                <a:srgbClr val="EBB7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8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741B940-8DF2-4BAE-C725-ACE31602D0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41B940-8DF2-4BAE-C725-ACE31602D0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E0454B-4DE2-BD70-9055-BF63274D0B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7A2582"/>
              </a:gs>
              <a:gs pos="2000">
                <a:srgbClr val="00338D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  <a:latin typeface="Open Sans Regular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597BE9A-F3E3-E837-0CDC-D15F2FF5FBBB}"/>
              </a:ext>
            </a:extLst>
          </p:cNvPr>
          <p:cNvGrpSpPr/>
          <p:nvPr/>
        </p:nvGrpSpPr>
        <p:grpSpPr>
          <a:xfrm>
            <a:off x="0" y="-5939"/>
            <a:ext cx="6864419" cy="6858000"/>
            <a:chOff x="-6419" y="0"/>
            <a:chExt cx="6864419" cy="6858000"/>
          </a:xfrm>
        </p:grpSpPr>
        <p:sp>
          <p:nvSpPr>
            <p:cNvPr id="30" name="Graphic 2">
              <a:extLst>
                <a:ext uri="{FF2B5EF4-FFF2-40B4-BE49-F238E27FC236}">
                  <a16:creationId xmlns:a16="http://schemas.microsoft.com/office/drawing/2014/main" id="{73146458-387A-212F-5144-D4A577F1650B}"/>
                </a:ext>
              </a:extLst>
            </p:cNvPr>
            <p:cNvSpPr/>
            <p:nvPr/>
          </p:nvSpPr>
          <p:spPr>
            <a:xfrm>
              <a:off x="0" y="0"/>
              <a:ext cx="6858000" cy="6858000"/>
            </a:xfrm>
            <a:custGeom>
              <a:avLst/>
              <a:gdLst>
                <a:gd name="connsiteX0" fmla="*/ 2898529 w 6858000"/>
                <a:gd name="connsiteY0" fmla="*/ 6858000 h 6858000"/>
                <a:gd name="connsiteX1" fmla="*/ 6858000 w 6858000"/>
                <a:gd name="connsiteY1" fmla="*/ 0 h 6858000"/>
                <a:gd name="connsiteX2" fmla="*/ 3959471 w 6858000"/>
                <a:gd name="connsiteY2" fmla="*/ 0 h 6858000"/>
                <a:gd name="connsiteX3" fmla="*/ 0 w 68580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6858000">
                  <a:moveTo>
                    <a:pt x="2898529" y="6858000"/>
                  </a:moveTo>
                  <a:lnTo>
                    <a:pt x="6858000" y="0"/>
                  </a:lnTo>
                  <a:lnTo>
                    <a:pt x="3959471" y="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3">
              <a:extLst>
                <a:ext uri="{FF2B5EF4-FFF2-40B4-BE49-F238E27FC236}">
                  <a16:creationId xmlns:a16="http://schemas.microsoft.com/office/drawing/2014/main" id="{E4BE1180-32E7-AFA0-5837-171707BA7A4A}"/>
                </a:ext>
              </a:extLst>
            </p:cNvPr>
            <p:cNvSpPr/>
            <p:nvPr/>
          </p:nvSpPr>
          <p:spPr>
            <a:xfrm rot="10800000">
              <a:off x="-6419" y="0"/>
              <a:ext cx="6331018" cy="6858000"/>
            </a:xfrm>
            <a:custGeom>
              <a:avLst/>
              <a:gdLst>
                <a:gd name="connsiteX0" fmla="*/ 0 w 3959471"/>
                <a:gd name="connsiteY0" fmla="*/ 6858000 h 6858000"/>
                <a:gd name="connsiteX1" fmla="*/ 3959471 w 3959471"/>
                <a:gd name="connsiteY1" fmla="*/ 0 h 6858000"/>
                <a:gd name="connsiteX2" fmla="*/ 3959471 w 3959471"/>
                <a:gd name="connsiteY2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59471" h="6858000">
                  <a:moveTo>
                    <a:pt x="0" y="6858000"/>
                  </a:moveTo>
                  <a:lnTo>
                    <a:pt x="3959471" y="0"/>
                  </a:lnTo>
                  <a:lnTo>
                    <a:pt x="3959471" y="6858000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Page Number - Blue">
            <a:extLst>
              <a:ext uri="{FF2B5EF4-FFF2-40B4-BE49-F238E27FC236}">
                <a16:creationId xmlns:a16="http://schemas.microsoft.com/office/drawing/2014/main" id="{5B79561B-C68A-9748-BD1F-4B43E431B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6" y="6400725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chemeClr val="bg1"/>
                </a:solidFill>
              </a:rPr>
              <a:pPr eaLnBrk="0" hangingPunct="0">
                <a:spcBef>
                  <a:spcPct val="50000"/>
                </a:spcBef>
                <a:defRPr/>
              </a:pPr>
              <a:t>3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2" name="Body Copy">
            <a:extLst>
              <a:ext uri="{FF2B5EF4-FFF2-40B4-BE49-F238E27FC236}">
                <a16:creationId xmlns:a16="http://schemas.microsoft.com/office/drawing/2014/main" id="{B12B31DB-1190-377F-FBBE-84BBE0CE704F}"/>
              </a:ext>
            </a:extLst>
          </p:cNvPr>
          <p:cNvSpPr txBox="1">
            <a:spLocks/>
          </p:cNvSpPr>
          <p:nvPr/>
        </p:nvSpPr>
        <p:spPr>
          <a:xfrm>
            <a:off x="6355121" y="1162255"/>
            <a:ext cx="5379679" cy="233941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SzPct val="120000"/>
            </a:pPr>
            <a: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fter a very popular generator project </a:t>
            </a:r>
            <a:r>
              <a:rPr lang="en-US" sz="2800" kern="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ject</a:t>
            </a:r>
            <a:r>
              <a:rPr lang="en-US" sz="2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team continues with a new needed product and invites LCIF to participate in.</a:t>
            </a:r>
          </a:p>
        </p:txBody>
      </p:sp>
      <p:sp>
        <p:nvSpPr>
          <p:cNvPr id="38" name="Body Copy">
            <a:extLst>
              <a:ext uri="{FF2B5EF4-FFF2-40B4-BE49-F238E27FC236}">
                <a16:creationId xmlns:a16="http://schemas.microsoft.com/office/drawing/2014/main" id="{F4F2E9CE-FAC7-BF68-B930-D5D9D2EF5274}"/>
              </a:ext>
            </a:extLst>
          </p:cNvPr>
          <p:cNvSpPr txBox="1">
            <a:spLocks/>
          </p:cNvSpPr>
          <p:nvPr/>
        </p:nvSpPr>
        <p:spPr>
          <a:xfrm>
            <a:off x="744923" y="1143000"/>
            <a:ext cx="8627677" cy="83736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SzPct val="120000"/>
            </a:pPr>
            <a:r>
              <a:rPr lang="en-US" sz="4800" b="1" kern="0" dirty="0">
                <a:solidFill>
                  <a:srgbClr val="00338D"/>
                </a:solidFill>
                <a:latin typeface="Arial" charset="0"/>
                <a:ea typeface="Arial" charset="0"/>
                <a:cs typeface="Arial" charset="0"/>
              </a:rPr>
              <a:t>Getting started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6B5C4DE-C2F0-1527-0799-74EF0946824B}"/>
              </a:ext>
            </a:extLst>
          </p:cNvPr>
          <p:cNvSpPr/>
          <p:nvPr/>
        </p:nvSpPr>
        <p:spPr>
          <a:xfrm rot="5400000" flipH="1">
            <a:off x="2873627" y="-121830"/>
            <a:ext cx="87738" cy="4247574"/>
          </a:xfrm>
          <a:prstGeom prst="rect">
            <a:avLst/>
          </a:prstGeom>
          <a:solidFill>
            <a:srgbClr val="EBB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rgbClr val="EBB700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2937EC37-0298-8223-F1BF-BE6FEF763F34}"/>
              </a:ext>
            </a:extLst>
          </p:cNvPr>
          <p:cNvGrpSpPr/>
          <p:nvPr/>
        </p:nvGrpSpPr>
        <p:grpSpPr>
          <a:xfrm>
            <a:off x="835415" y="3538114"/>
            <a:ext cx="10521170" cy="2560607"/>
            <a:chOff x="835415" y="3538114"/>
            <a:chExt cx="10521170" cy="2560607"/>
          </a:xfrm>
        </p:grpSpPr>
        <p:sp>
          <p:nvSpPr>
            <p:cNvPr id="2" name="Oval 9">
              <a:extLst>
                <a:ext uri="{FF2B5EF4-FFF2-40B4-BE49-F238E27FC236}">
                  <a16:creationId xmlns:a16="http://schemas.microsoft.com/office/drawing/2014/main" id="{45E78632-8DE6-F537-ED54-7DE99B04CCE2}"/>
                </a:ext>
              </a:extLst>
            </p:cNvPr>
            <p:cNvSpPr/>
            <p:nvPr/>
          </p:nvSpPr>
          <p:spPr bwMode="auto">
            <a:xfrm>
              <a:off x="8795978" y="3538114"/>
              <a:ext cx="2560607" cy="2560607"/>
            </a:xfrm>
            <a:prstGeom prst="ellipse">
              <a:avLst/>
            </a:prstGeom>
            <a:solidFill>
              <a:srgbClr val="00338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Font typeface="Helvetica" pitchFamily="84" charset="0"/>
                <a:buNone/>
              </a:pP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2024 </a:t>
              </a:r>
              <a:b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INVOLVE LCIF</a:t>
              </a:r>
            </a:p>
            <a:p>
              <a:pPr algn="ctr">
                <a:buFont typeface="Helvetica" pitchFamily="84" charset="0"/>
                <a:buNone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Agree a new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project concept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for donations via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LCIF to a specific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target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D663DF4-83E2-904A-8703-E0CB46178C8E}"/>
                </a:ext>
              </a:extLst>
            </p:cNvPr>
            <p:cNvSpPr/>
            <p:nvPr/>
          </p:nvSpPr>
          <p:spPr bwMode="auto">
            <a:xfrm>
              <a:off x="6142457" y="3538114"/>
              <a:ext cx="2560607" cy="2560607"/>
            </a:xfrm>
            <a:prstGeom prst="ellipse">
              <a:avLst/>
            </a:prstGeom>
            <a:solidFill>
              <a:srgbClr val="407CC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Font typeface="Helvetica" pitchFamily="84" charset="0"/>
                <a:buNone/>
              </a:pP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2024 </a:t>
              </a:r>
              <a:b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NEW PROJECT</a:t>
              </a:r>
            </a:p>
            <a:p>
              <a:pPr algn="ctr">
                <a:buFont typeface="Helvetica" pitchFamily="84" charset="0"/>
                <a:buNone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High demand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for support in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Ukraine. Agree a new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needed product for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this project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EBFB3DD-AB1A-3B43-9859-33E24E44FB9D}"/>
                </a:ext>
              </a:extLst>
            </p:cNvPr>
            <p:cNvSpPr/>
            <p:nvPr/>
          </p:nvSpPr>
          <p:spPr bwMode="auto">
            <a:xfrm>
              <a:off x="3488936" y="3538114"/>
              <a:ext cx="2560607" cy="2560607"/>
            </a:xfrm>
            <a:prstGeom prst="ellipse">
              <a:avLst/>
            </a:prstGeom>
            <a:solidFill>
              <a:srgbClr val="EBB7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Font typeface="Helvetica" pitchFamily="84" charset="0"/>
                <a:buNone/>
              </a:pP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2023 </a:t>
              </a:r>
              <a:b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GENERATORS</a:t>
              </a:r>
            </a:p>
            <a:p>
              <a:pPr algn="ctr">
                <a:buFont typeface="Helvetica" pitchFamily="84" charset="0"/>
                <a:buNone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1.5 MEUR &amp;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about 2300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generators for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300,000 children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in schools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917FC6D-ED39-D845-A63B-061B23F7B7D1}"/>
                </a:ext>
              </a:extLst>
            </p:cNvPr>
            <p:cNvSpPr/>
            <p:nvPr/>
          </p:nvSpPr>
          <p:spPr bwMode="auto">
            <a:xfrm>
              <a:off x="835415" y="3538114"/>
              <a:ext cx="2560607" cy="2560607"/>
            </a:xfrm>
            <a:prstGeom prst="ellipse">
              <a:avLst/>
            </a:prstGeom>
            <a:solidFill>
              <a:srgbClr val="7A268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Font typeface="Helvetica" pitchFamily="84" charset="0"/>
                <a:buNone/>
              </a:pP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2022</a:t>
              </a:r>
              <a:b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sz="2500" b="1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DEMAND</a:t>
              </a:r>
            </a:p>
            <a:p>
              <a:pPr algn="ctr">
                <a:buFont typeface="Helvetica" pitchFamily="84" charset="0"/>
                <a:buNone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Ukrainian families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suffer from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war</a:t>
              </a:r>
            </a:p>
            <a:p>
              <a:pPr algn="ctr">
                <a:buFont typeface="Helvetica" pitchFamily="84" charset="0"/>
                <a:buNone/>
              </a:pP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sp>
          <p:nvSpPr>
            <p:cNvPr id="4" name="Right Arrow 3">
              <a:extLst>
                <a:ext uri="{FF2B5EF4-FFF2-40B4-BE49-F238E27FC236}">
                  <a16:creationId xmlns:a16="http://schemas.microsoft.com/office/drawing/2014/main" id="{77BD8820-7B02-BA48-ADAE-67B2BC5CDCE4}"/>
                </a:ext>
              </a:extLst>
            </p:cNvPr>
            <p:cNvSpPr/>
            <p:nvPr/>
          </p:nvSpPr>
          <p:spPr>
            <a:xfrm>
              <a:off x="2919622" y="4497778"/>
              <a:ext cx="1117098" cy="641279"/>
            </a:xfrm>
            <a:prstGeom prst="rightArrow">
              <a:avLst/>
            </a:prstGeom>
            <a:solidFill>
              <a:srgbClr val="0D224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ight Arrow 22">
              <a:extLst>
                <a:ext uri="{FF2B5EF4-FFF2-40B4-BE49-F238E27FC236}">
                  <a16:creationId xmlns:a16="http://schemas.microsoft.com/office/drawing/2014/main" id="{EEED92C2-C99E-9047-B6F5-7C7024D6AAA6}"/>
                </a:ext>
              </a:extLst>
            </p:cNvPr>
            <p:cNvSpPr/>
            <p:nvPr/>
          </p:nvSpPr>
          <p:spPr>
            <a:xfrm>
              <a:off x="5580236" y="4497778"/>
              <a:ext cx="1117098" cy="641279"/>
            </a:xfrm>
            <a:prstGeom prst="rightArrow">
              <a:avLst/>
            </a:prstGeom>
            <a:solidFill>
              <a:srgbClr val="0D224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ight Arrow 23">
              <a:extLst>
                <a:ext uri="{FF2B5EF4-FFF2-40B4-BE49-F238E27FC236}">
                  <a16:creationId xmlns:a16="http://schemas.microsoft.com/office/drawing/2014/main" id="{FA65ECBC-BED0-6A47-BC1B-39EDC86B00C8}"/>
                </a:ext>
              </a:extLst>
            </p:cNvPr>
            <p:cNvSpPr/>
            <p:nvPr/>
          </p:nvSpPr>
          <p:spPr>
            <a:xfrm>
              <a:off x="8226391" y="4497778"/>
              <a:ext cx="1117098" cy="641279"/>
            </a:xfrm>
            <a:prstGeom prst="rightArrow">
              <a:avLst/>
            </a:prstGeom>
            <a:solidFill>
              <a:srgbClr val="0D224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6064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think-cell data - do not delete" hidden="1">
            <a:extLst>
              <a:ext uri="{FF2B5EF4-FFF2-40B4-BE49-F238E27FC236}">
                <a16:creationId xmlns:a16="http://schemas.microsoft.com/office/drawing/2014/main" id="{AE0CFD41-47D8-9A92-05DC-6E7310D58F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1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CFD41-47D8-9A92-05DC-6E7310D58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ody Copy">
            <a:extLst>
              <a:ext uri="{FF2B5EF4-FFF2-40B4-BE49-F238E27FC236}">
                <a16:creationId xmlns:a16="http://schemas.microsoft.com/office/drawing/2014/main" id="{B266A953-DE7C-FBAD-0B24-3826BD2B921C}"/>
              </a:ext>
            </a:extLst>
          </p:cNvPr>
          <p:cNvSpPr txBox="1">
            <a:spLocks/>
          </p:cNvSpPr>
          <p:nvPr/>
        </p:nvSpPr>
        <p:spPr>
          <a:xfrm>
            <a:off x="-1906000" y="7448726"/>
            <a:ext cx="4089337" cy="151171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0" dirty="0">
                <a:solidFill>
                  <a:schemeClr val="accent6"/>
                </a:solidFill>
              </a:rPr>
              <a:t>PROCESS</a:t>
            </a:r>
          </a:p>
          <a:p>
            <a:r>
              <a:rPr lang="en-US" sz="1800" kern="0" dirty="0">
                <a:solidFill>
                  <a:schemeClr val="accent6"/>
                </a:solidFill>
              </a:rPr>
              <a:t>Flow of money</a:t>
            </a:r>
          </a:p>
          <a:p>
            <a:r>
              <a:rPr lang="en-US" sz="1800" kern="0" dirty="0">
                <a:solidFill>
                  <a:schemeClr val="accent6"/>
                </a:solidFill>
              </a:rPr>
              <a:t>Journey of products</a:t>
            </a:r>
          </a:p>
          <a:p>
            <a:r>
              <a:rPr lang="en-US" sz="1800" kern="0" dirty="0">
                <a:solidFill>
                  <a:schemeClr val="accent6"/>
                </a:solidFill>
              </a:rPr>
              <a:t>Happiness of donor + people in need</a:t>
            </a:r>
          </a:p>
        </p:txBody>
      </p:sp>
      <p:sp>
        <p:nvSpPr>
          <p:cNvPr id="4" name="Yellow Bar">
            <a:extLst>
              <a:ext uri="{FF2B5EF4-FFF2-40B4-BE49-F238E27FC236}">
                <a16:creationId xmlns:a16="http://schemas.microsoft.com/office/drawing/2014/main" id="{A93B2AD9-FE85-3CA3-8624-54E393DB4592}"/>
              </a:ext>
            </a:extLst>
          </p:cNvPr>
          <p:cNvSpPr/>
          <p:nvPr/>
        </p:nvSpPr>
        <p:spPr>
          <a:xfrm>
            <a:off x="1137330" y="1382391"/>
            <a:ext cx="2926080" cy="61227"/>
          </a:xfrm>
          <a:prstGeom prst="rect">
            <a:avLst/>
          </a:prstGeom>
          <a:solidFill>
            <a:srgbClr val="EBB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 dirty="0"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6" name="Headline">
            <a:extLst>
              <a:ext uri="{FF2B5EF4-FFF2-40B4-BE49-F238E27FC236}">
                <a16:creationId xmlns:a16="http://schemas.microsoft.com/office/drawing/2014/main" id="{CAD08BDA-5992-6594-6950-CC31CF14844D}"/>
              </a:ext>
            </a:extLst>
          </p:cNvPr>
          <p:cNvSpPr txBox="1">
            <a:spLocks/>
          </p:cNvSpPr>
          <p:nvPr/>
        </p:nvSpPr>
        <p:spPr>
          <a:xfrm>
            <a:off x="1027265" y="628845"/>
            <a:ext cx="8373905" cy="5334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rgbClr val="095495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800" kern="0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in practice</a:t>
            </a:r>
          </a:p>
        </p:txBody>
      </p:sp>
      <p:sp>
        <p:nvSpPr>
          <p:cNvPr id="10" name="Background - Solid">
            <a:extLst>
              <a:ext uri="{FF2B5EF4-FFF2-40B4-BE49-F238E27FC236}">
                <a16:creationId xmlns:a16="http://schemas.microsoft.com/office/drawing/2014/main" id="{D45A40C5-A85E-3341-0DA0-94553961E47D}"/>
              </a:ext>
            </a:extLst>
          </p:cNvPr>
          <p:cNvSpPr/>
          <p:nvPr/>
        </p:nvSpPr>
        <p:spPr>
          <a:xfrm>
            <a:off x="-1" y="0"/>
            <a:ext cx="12215479" cy="457200"/>
          </a:xfrm>
          <a:prstGeom prst="rect">
            <a:avLst/>
          </a:prstGeom>
          <a:gradFill>
            <a:gsLst>
              <a:gs pos="0">
                <a:srgbClr val="0D2240"/>
              </a:gs>
              <a:gs pos="50000">
                <a:srgbClr val="00338D"/>
              </a:gs>
              <a:gs pos="99000">
                <a:srgbClr val="7A2582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44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age Number - Blue">
            <a:extLst>
              <a:ext uri="{FF2B5EF4-FFF2-40B4-BE49-F238E27FC236}">
                <a16:creationId xmlns:a16="http://schemas.microsoft.com/office/drawing/2014/main" id="{98315DD5-C59F-246B-5DDA-0EE28F45F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6" y="6400725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0338D"/>
                </a:solidFill>
              </a:rPr>
              <a:pPr eaLnBrk="0" hangingPunct="0">
                <a:spcBef>
                  <a:spcPct val="50000"/>
                </a:spcBef>
                <a:defRPr/>
              </a:pPr>
              <a:t>4</a:t>
            </a:fld>
            <a:endParaRPr lang="en-US" sz="1000" dirty="0">
              <a:solidFill>
                <a:srgbClr val="00338D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27322B-0798-582A-5A94-A396405F0B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400" y="6208490"/>
            <a:ext cx="2592235" cy="543283"/>
          </a:xfrm>
          <a:prstGeom prst="rect">
            <a:avLst/>
          </a:prstGeom>
        </p:spPr>
      </p:pic>
      <p:pic>
        <p:nvPicPr>
          <p:cNvPr id="7" name="Kuva 6" descr="Raha ääriviiva">
            <a:extLst>
              <a:ext uri="{FF2B5EF4-FFF2-40B4-BE49-F238E27FC236}">
                <a16:creationId xmlns:a16="http://schemas.microsoft.com/office/drawing/2014/main" id="{A12EC0DE-0E31-03AE-1E34-BE9C305B52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88318" y="-1005437"/>
            <a:ext cx="914400" cy="914400"/>
          </a:xfrm>
          <a:prstGeom prst="rect">
            <a:avLst/>
          </a:prstGeom>
        </p:spPr>
      </p:pic>
      <p:pic>
        <p:nvPicPr>
          <p:cNvPr id="12" name="Kuva 11" descr="Lentävä seteli tasaisella täytöllä">
            <a:extLst>
              <a:ext uri="{FF2B5EF4-FFF2-40B4-BE49-F238E27FC236}">
                <a16:creationId xmlns:a16="http://schemas.microsoft.com/office/drawing/2014/main" id="{A8F81702-CFC2-8756-D537-0285C5A8A9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91483" y="-914400"/>
            <a:ext cx="914400" cy="914400"/>
          </a:xfrm>
          <a:prstGeom prst="rect">
            <a:avLst/>
          </a:prstGeom>
        </p:spPr>
      </p:pic>
      <p:pic>
        <p:nvPicPr>
          <p:cNvPr id="14" name="Kuva 13" descr="Raha tasaisella täytöllä">
            <a:extLst>
              <a:ext uri="{FF2B5EF4-FFF2-40B4-BE49-F238E27FC236}">
                <a16:creationId xmlns:a16="http://schemas.microsoft.com/office/drawing/2014/main" id="{C505FF41-8673-0C51-A8DB-E94DDD4AC59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82000" y="-987624"/>
            <a:ext cx="914400" cy="914400"/>
          </a:xfrm>
          <a:prstGeom prst="rect">
            <a:avLst/>
          </a:prstGeom>
        </p:spPr>
      </p:pic>
      <p:pic>
        <p:nvPicPr>
          <p:cNvPr id="16" name="Kuva 15" descr="Käyttäjä tasaisella täytöllä">
            <a:extLst>
              <a:ext uri="{FF2B5EF4-FFF2-40B4-BE49-F238E27FC236}">
                <a16:creationId xmlns:a16="http://schemas.microsoft.com/office/drawing/2014/main" id="{1693E20E-0332-92EF-74BB-DB2F0633EA8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1025865" y="1455024"/>
            <a:ext cx="914400" cy="914400"/>
          </a:xfrm>
          <a:prstGeom prst="rect">
            <a:avLst/>
          </a:prstGeom>
        </p:spPr>
      </p:pic>
      <p:pic>
        <p:nvPicPr>
          <p:cNvPr id="18" name="Kuva 17" descr="Käyttäjä ääriviiva">
            <a:extLst>
              <a:ext uri="{FF2B5EF4-FFF2-40B4-BE49-F238E27FC236}">
                <a16:creationId xmlns:a16="http://schemas.microsoft.com/office/drawing/2014/main" id="{CE1B4BD9-D573-7E68-CCE3-0942C2C8E2C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1901960" y="1507572"/>
            <a:ext cx="914400" cy="914400"/>
          </a:xfrm>
          <a:prstGeom prst="rect">
            <a:avLst/>
          </a:prstGeom>
        </p:spPr>
      </p:pic>
      <p:pic>
        <p:nvPicPr>
          <p:cNvPr id="20" name="Kuva 19" descr="Toimisto työntekijä nainen tasaisella täytöllä">
            <a:extLst>
              <a:ext uri="{FF2B5EF4-FFF2-40B4-BE49-F238E27FC236}">
                <a16:creationId xmlns:a16="http://schemas.microsoft.com/office/drawing/2014/main" id="{BED2AE83-44A9-343E-71AF-2AD3F8503AA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-1038819" y="2353752"/>
            <a:ext cx="914400" cy="914400"/>
          </a:xfrm>
          <a:prstGeom prst="rect">
            <a:avLst/>
          </a:prstGeom>
        </p:spPr>
      </p:pic>
      <p:pic>
        <p:nvPicPr>
          <p:cNvPr id="22" name="Kuva 21" descr="Toimisto työntekijä mies ääriviiva">
            <a:extLst>
              <a:ext uri="{FF2B5EF4-FFF2-40B4-BE49-F238E27FC236}">
                <a16:creationId xmlns:a16="http://schemas.microsoft.com/office/drawing/2014/main" id="{AFC68F09-23F5-F669-A95F-9CADA1F1DC1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-1921378" y="3351612"/>
            <a:ext cx="914400" cy="914400"/>
          </a:xfrm>
          <a:prstGeom prst="rect">
            <a:avLst/>
          </a:prstGeom>
        </p:spPr>
      </p:pic>
      <p:pic>
        <p:nvPicPr>
          <p:cNvPr id="24" name="Kuva 23" descr="Toimisto työntekijä nainen ääriviiva">
            <a:extLst>
              <a:ext uri="{FF2B5EF4-FFF2-40B4-BE49-F238E27FC236}">
                <a16:creationId xmlns:a16="http://schemas.microsoft.com/office/drawing/2014/main" id="{34FFB6EC-A523-0109-4CEF-1E9E27B8982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-1858767" y="2392503"/>
            <a:ext cx="914400" cy="914400"/>
          </a:xfrm>
          <a:prstGeom prst="rect">
            <a:avLst/>
          </a:prstGeom>
        </p:spPr>
      </p:pic>
      <p:pic>
        <p:nvPicPr>
          <p:cNvPr id="26" name="Kuva 25" descr="Toimisto työntekijä mies tasaisella täytöllä">
            <a:extLst>
              <a:ext uri="{FF2B5EF4-FFF2-40B4-BE49-F238E27FC236}">
                <a16:creationId xmlns:a16="http://schemas.microsoft.com/office/drawing/2014/main" id="{FE61F469-022B-12D6-DA32-3209057C358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-1038223" y="3272376"/>
            <a:ext cx="914400" cy="914400"/>
          </a:xfrm>
          <a:prstGeom prst="rect">
            <a:avLst/>
          </a:prstGeom>
        </p:spPr>
      </p:pic>
      <p:pic>
        <p:nvPicPr>
          <p:cNvPr id="28" name="Kuva 27" descr="Naisen profiili tasaisella täytöllä">
            <a:extLst>
              <a:ext uri="{FF2B5EF4-FFF2-40B4-BE49-F238E27FC236}">
                <a16:creationId xmlns:a16="http://schemas.microsoft.com/office/drawing/2014/main" id="{B239C553-1123-643A-D707-10155B6F7DE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-1038819" y="4263468"/>
            <a:ext cx="914400" cy="914400"/>
          </a:xfrm>
          <a:prstGeom prst="rect">
            <a:avLst/>
          </a:prstGeom>
        </p:spPr>
      </p:pic>
      <p:pic>
        <p:nvPicPr>
          <p:cNvPr id="30" name="Kuva 29" descr="Miehen profiili ääriviiva">
            <a:extLst>
              <a:ext uri="{FF2B5EF4-FFF2-40B4-BE49-F238E27FC236}">
                <a16:creationId xmlns:a16="http://schemas.microsoft.com/office/drawing/2014/main" id="{B118093F-5318-B782-8CAD-1B8127297F5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-1904282" y="5147100"/>
            <a:ext cx="914400" cy="914400"/>
          </a:xfrm>
          <a:prstGeom prst="rect">
            <a:avLst/>
          </a:prstGeom>
        </p:spPr>
      </p:pic>
      <p:pic>
        <p:nvPicPr>
          <p:cNvPr id="32" name="Kuva 31" descr="Koulupoika ääriviiva">
            <a:extLst>
              <a:ext uri="{FF2B5EF4-FFF2-40B4-BE49-F238E27FC236}">
                <a16:creationId xmlns:a16="http://schemas.microsoft.com/office/drawing/2014/main" id="{7BDF0F36-271B-E601-6BC0-3EB5043D4DB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-1768775" y="6055398"/>
            <a:ext cx="914400" cy="914400"/>
          </a:xfrm>
          <a:prstGeom prst="rect">
            <a:avLst/>
          </a:prstGeom>
        </p:spPr>
      </p:pic>
      <p:pic>
        <p:nvPicPr>
          <p:cNvPr id="34" name="Kuva 33" descr="Naisen profiili ääriviiva">
            <a:extLst>
              <a:ext uri="{FF2B5EF4-FFF2-40B4-BE49-F238E27FC236}">
                <a16:creationId xmlns:a16="http://schemas.microsoft.com/office/drawing/2014/main" id="{405F89C9-B6D2-939D-A2EA-DDCB71E224C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-1889538" y="4243254"/>
            <a:ext cx="914400" cy="914400"/>
          </a:xfrm>
          <a:prstGeom prst="rect">
            <a:avLst/>
          </a:prstGeom>
        </p:spPr>
      </p:pic>
      <p:pic>
        <p:nvPicPr>
          <p:cNvPr id="36" name="Kuva 35" descr="Miehen profiili tasaisella täytöllä">
            <a:extLst>
              <a:ext uri="{FF2B5EF4-FFF2-40B4-BE49-F238E27FC236}">
                <a16:creationId xmlns:a16="http://schemas.microsoft.com/office/drawing/2014/main" id="{A9B228EF-77BA-3A4A-1DDE-D3F05EA7A9E7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-1038528" y="5140421"/>
            <a:ext cx="914400" cy="914400"/>
          </a:xfrm>
          <a:prstGeom prst="rect">
            <a:avLst/>
          </a:prstGeom>
        </p:spPr>
      </p:pic>
      <p:pic>
        <p:nvPicPr>
          <p:cNvPr id="38" name="Kuva 37" descr="Käyttäjät ääriviiva">
            <a:extLst>
              <a:ext uri="{FF2B5EF4-FFF2-40B4-BE49-F238E27FC236}">
                <a16:creationId xmlns:a16="http://schemas.microsoft.com/office/drawing/2014/main" id="{C2974314-853E-F02C-97FE-AD3472CFD3BD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-2179525" y="315732"/>
            <a:ext cx="914400" cy="914400"/>
          </a:xfrm>
          <a:prstGeom prst="rect">
            <a:avLst/>
          </a:prstGeom>
        </p:spPr>
      </p:pic>
      <p:pic>
        <p:nvPicPr>
          <p:cNvPr id="40" name="Kuva 39" descr="Käyttäjät tasaisella täytöllä">
            <a:extLst>
              <a:ext uri="{FF2B5EF4-FFF2-40B4-BE49-F238E27FC236}">
                <a16:creationId xmlns:a16="http://schemas.microsoft.com/office/drawing/2014/main" id="{D623A6C1-99DC-C0C1-E882-96693802639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-1162657" y="339300"/>
            <a:ext cx="914400" cy="914400"/>
          </a:xfrm>
          <a:prstGeom prst="rect">
            <a:avLst/>
          </a:prstGeom>
        </p:spPr>
      </p:pic>
      <p:pic>
        <p:nvPicPr>
          <p:cNvPr id="42" name="Kuva 41" descr="Koulupoika tasaisella täytöllä">
            <a:extLst>
              <a:ext uri="{FF2B5EF4-FFF2-40B4-BE49-F238E27FC236}">
                <a16:creationId xmlns:a16="http://schemas.microsoft.com/office/drawing/2014/main" id="{ECDB250F-665C-1EF1-32CE-4A22041E49D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-1087657" y="6049296"/>
            <a:ext cx="914400" cy="914400"/>
          </a:xfrm>
          <a:prstGeom prst="rect">
            <a:avLst/>
          </a:prstGeom>
        </p:spPr>
      </p:pic>
      <p:pic>
        <p:nvPicPr>
          <p:cNvPr id="44" name="Kuva 43" descr="Muuttolaatikko auki ääriviiva">
            <a:extLst>
              <a:ext uri="{FF2B5EF4-FFF2-40B4-BE49-F238E27FC236}">
                <a16:creationId xmlns:a16="http://schemas.microsoft.com/office/drawing/2014/main" id="{ED54A402-C4F6-1607-6D71-DBB6210BD5B1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3316639" y="4495800"/>
            <a:ext cx="914400" cy="914400"/>
          </a:xfrm>
          <a:prstGeom prst="rect">
            <a:avLst/>
          </a:prstGeom>
        </p:spPr>
      </p:pic>
      <p:pic>
        <p:nvPicPr>
          <p:cNvPr id="46" name="Kuva 45" descr="Muuttolaatikko auki tasaisella täytöllä">
            <a:extLst>
              <a:ext uri="{FF2B5EF4-FFF2-40B4-BE49-F238E27FC236}">
                <a16:creationId xmlns:a16="http://schemas.microsoft.com/office/drawing/2014/main" id="{E0AC8DAD-B3D9-241C-479B-F8794587A3F9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2365257" y="4379310"/>
            <a:ext cx="914400" cy="914400"/>
          </a:xfrm>
          <a:prstGeom prst="rect">
            <a:avLst/>
          </a:prstGeom>
        </p:spPr>
      </p:pic>
      <p:pic>
        <p:nvPicPr>
          <p:cNvPr id="48" name="Kuva 47" descr="Laatikko tasaisella täytöllä">
            <a:extLst>
              <a:ext uri="{FF2B5EF4-FFF2-40B4-BE49-F238E27FC236}">
                <a16:creationId xmlns:a16="http://schemas.microsoft.com/office/drawing/2014/main" id="{9491FB9F-51F0-12FC-EA85-1DBF718E37C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2320655" y="3464910"/>
            <a:ext cx="914400" cy="914400"/>
          </a:xfrm>
          <a:prstGeom prst="rect">
            <a:avLst/>
          </a:prstGeom>
        </p:spPr>
      </p:pic>
      <p:pic>
        <p:nvPicPr>
          <p:cNvPr id="50" name="Kuva 49" descr="Laatikko ääriviiva">
            <a:extLst>
              <a:ext uri="{FF2B5EF4-FFF2-40B4-BE49-F238E27FC236}">
                <a16:creationId xmlns:a16="http://schemas.microsoft.com/office/drawing/2014/main" id="{84A50441-80C1-F276-A71D-518161F6B579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3356600" y="3483924"/>
            <a:ext cx="914400" cy="914400"/>
          </a:xfrm>
          <a:prstGeom prst="rect">
            <a:avLst/>
          </a:prstGeom>
        </p:spPr>
      </p:pic>
      <p:pic>
        <p:nvPicPr>
          <p:cNvPr id="52" name="Kuva 51" descr="Kuorma-auto ääriviiva">
            <a:extLst>
              <a:ext uri="{FF2B5EF4-FFF2-40B4-BE49-F238E27FC236}">
                <a16:creationId xmlns:a16="http://schemas.microsoft.com/office/drawing/2014/main" id="{C436079F-5596-3766-7E56-A652AC08762B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3457125" y="2714700"/>
            <a:ext cx="914400" cy="914400"/>
          </a:xfrm>
          <a:prstGeom prst="rect">
            <a:avLst/>
          </a:prstGeom>
        </p:spPr>
      </p:pic>
      <p:pic>
        <p:nvPicPr>
          <p:cNvPr id="54" name="Kuva 53" descr="Kuorma-auto tasaisella täytöllä">
            <a:extLst>
              <a:ext uri="{FF2B5EF4-FFF2-40B4-BE49-F238E27FC236}">
                <a16:creationId xmlns:a16="http://schemas.microsoft.com/office/drawing/2014/main" id="{F2D48291-592C-2368-9B5A-7F6CEEE241A1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2346323" y="2687931"/>
            <a:ext cx="914400" cy="914400"/>
          </a:xfrm>
          <a:prstGeom prst="rect">
            <a:avLst/>
          </a:prstGeom>
        </p:spPr>
      </p:pic>
      <p:pic>
        <p:nvPicPr>
          <p:cNvPr id="56" name="Kuva 55" descr="Tehdas ääriviiva">
            <a:extLst>
              <a:ext uri="{FF2B5EF4-FFF2-40B4-BE49-F238E27FC236}">
                <a16:creationId xmlns:a16="http://schemas.microsoft.com/office/drawing/2014/main" id="{2C054FDB-FEA9-6725-13EA-A30C9951372B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3294443" y="1912224"/>
            <a:ext cx="914400" cy="914400"/>
          </a:xfrm>
          <a:prstGeom prst="rect">
            <a:avLst/>
          </a:prstGeom>
        </p:spPr>
      </p:pic>
      <p:pic>
        <p:nvPicPr>
          <p:cNvPr id="58" name="Kuva 57" descr="Tehdas tasaisella täytöllä">
            <a:extLst>
              <a:ext uri="{FF2B5EF4-FFF2-40B4-BE49-F238E27FC236}">
                <a16:creationId xmlns:a16="http://schemas.microsoft.com/office/drawing/2014/main" id="{EBE431B7-1D07-5CFB-3DB3-4DCA6FD5A58E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2293663" y="1896552"/>
            <a:ext cx="914400" cy="914400"/>
          </a:xfrm>
          <a:prstGeom prst="rect">
            <a:avLst/>
          </a:prstGeom>
        </p:spPr>
      </p:pic>
      <p:pic>
        <p:nvPicPr>
          <p:cNvPr id="60" name="Kuva 59" descr="Kaupunki tasaisella täytöllä">
            <a:extLst>
              <a:ext uri="{FF2B5EF4-FFF2-40B4-BE49-F238E27FC236}">
                <a16:creationId xmlns:a16="http://schemas.microsoft.com/office/drawing/2014/main" id="{56ECFB5F-641F-E0DE-3AD1-5D571A387CFD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2320623" y="1119573"/>
            <a:ext cx="914400" cy="914400"/>
          </a:xfrm>
          <a:prstGeom prst="rect">
            <a:avLst/>
          </a:prstGeom>
        </p:spPr>
      </p:pic>
      <p:pic>
        <p:nvPicPr>
          <p:cNvPr id="62" name="Kuva 61" descr="Kaupunki ääriviiva">
            <a:extLst>
              <a:ext uri="{FF2B5EF4-FFF2-40B4-BE49-F238E27FC236}">
                <a16:creationId xmlns:a16="http://schemas.microsoft.com/office/drawing/2014/main" id="{5E7BA595-22AC-26D6-37DF-05646B8F11E2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3329330" y="1143000"/>
            <a:ext cx="914400" cy="914400"/>
          </a:xfrm>
          <a:prstGeom prst="rect">
            <a:avLst/>
          </a:prstGeom>
        </p:spPr>
      </p:pic>
      <p:pic>
        <p:nvPicPr>
          <p:cNvPr id="64" name="Kuva 63" descr="Kassakaappi tasaisella täytöllä">
            <a:extLst>
              <a:ext uri="{FF2B5EF4-FFF2-40B4-BE49-F238E27FC236}">
                <a16:creationId xmlns:a16="http://schemas.microsoft.com/office/drawing/2014/main" id="{5F880359-4137-5CC5-7395-1E9B31C78DCA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2331057" y="6278666"/>
            <a:ext cx="914400" cy="914400"/>
          </a:xfrm>
          <a:prstGeom prst="rect">
            <a:avLst/>
          </a:prstGeom>
        </p:spPr>
      </p:pic>
      <p:pic>
        <p:nvPicPr>
          <p:cNvPr id="66" name="Kuva 65" descr="Säästöpossu ääriviiva">
            <a:extLst>
              <a:ext uri="{FF2B5EF4-FFF2-40B4-BE49-F238E27FC236}">
                <a16:creationId xmlns:a16="http://schemas.microsoft.com/office/drawing/2014/main" id="{D841959F-D79F-5A48-4F62-2243CDD956D9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3330094" y="5417713"/>
            <a:ext cx="914400" cy="914400"/>
          </a:xfrm>
          <a:prstGeom prst="rect">
            <a:avLst/>
          </a:prstGeom>
        </p:spPr>
      </p:pic>
      <p:pic>
        <p:nvPicPr>
          <p:cNvPr id="68" name="Kuva 67" descr="Säästöpossu tasaisella täytöllä">
            <a:extLst>
              <a:ext uri="{FF2B5EF4-FFF2-40B4-BE49-F238E27FC236}">
                <a16:creationId xmlns:a16="http://schemas.microsoft.com/office/drawing/2014/main" id="{F70C805C-FF04-B53D-0DB5-E96605967761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2401640" y="5364266"/>
            <a:ext cx="914400" cy="914400"/>
          </a:xfrm>
          <a:prstGeom prst="rect">
            <a:avLst/>
          </a:prstGeom>
        </p:spPr>
      </p:pic>
      <p:pic>
        <p:nvPicPr>
          <p:cNvPr id="70" name="Kuva 69" descr="Kassakaappi ääriviiva">
            <a:extLst>
              <a:ext uri="{FF2B5EF4-FFF2-40B4-BE49-F238E27FC236}">
                <a16:creationId xmlns:a16="http://schemas.microsoft.com/office/drawing/2014/main" id="{DE51EBA1-65C9-495E-BDD4-29B7527AE3D2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386464" y="6385485"/>
            <a:ext cx="914400" cy="914400"/>
          </a:xfrm>
          <a:prstGeom prst="rect">
            <a:avLst/>
          </a:prstGeom>
        </p:spPr>
      </p:pic>
      <p:pic>
        <p:nvPicPr>
          <p:cNvPr id="71" name="Picture 6">
            <a:extLst>
              <a:ext uri="{FF2B5EF4-FFF2-40B4-BE49-F238E27FC236}">
                <a16:creationId xmlns:a16="http://schemas.microsoft.com/office/drawing/2014/main" id="{EE409F38-BA71-6DC1-9119-B446775D1B1F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12924779" y="7760099"/>
            <a:ext cx="1064691" cy="1011456"/>
          </a:xfrm>
          <a:prstGeom prst="rect">
            <a:avLst/>
          </a:prstGeom>
        </p:spPr>
      </p:pic>
      <p:pic>
        <p:nvPicPr>
          <p:cNvPr id="74" name="Kuva 73" descr="Kuva, joka sisältää kohteen musta, pimeys&#10;&#10;Kuvaus luotu automaattisesti">
            <a:extLst>
              <a:ext uri="{FF2B5EF4-FFF2-40B4-BE49-F238E27FC236}">
                <a16:creationId xmlns:a16="http://schemas.microsoft.com/office/drawing/2014/main" id="{FEDB816C-FEA5-3743-71DC-D550C5D85E35}"/>
              </a:ext>
            </a:extLst>
          </p:cNvPr>
          <p:cNvPicPr>
            <a:picLocks noChangeAspect="1"/>
          </p:cNvPicPr>
          <p:nvPr/>
        </p:nvPicPr>
        <p:blipFill>
          <a:blip r:embed="rId7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864" y="7696200"/>
            <a:ext cx="1173485" cy="1110243"/>
          </a:xfrm>
          <a:prstGeom prst="rect">
            <a:avLst/>
          </a:prstGeom>
        </p:spPr>
      </p:pic>
      <p:pic>
        <p:nvPicPr>
          <p:cNvPr id="85" name="Kuva 84" descr="Tarkistusluettelo ääriviiva">
            <a:extLst>
              <a:ext uri="{FF2B5EF4-FFF2-40B4-BE49-F238E27FC236}">
                <a16:creationId xmlns:a16="http://schemas.microsoft.com/office/drawing/2014/main" id="{2B732083-0801-D1E1-F88C-F7DB4C0FFD83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4856821" y="7977976"/>
            <a:ext cx="914400" cy="914400"/>
          </a:xfrm>
          <a:prstGeom prst="rect">
            <a:avLst/>
          </a:prstGeom>
        </p:spPr>
      </p:pic>
      <p:pic>
        <p:nvPicPr>
          <p:cNvPr id="87" name="Kuva 86" descr="Tarkistusluettelo tasaisella täytöllä">
            <a:extLst>
              <a:ext uri="{FF2B5EF4-FFF2-40B4-BE49-F238E27FC236}">
                <a16:creationId xmlns:a16="http://schemas.microsoft.com/office/drawing/2014/main" id="{B26B9E62-81CD-B404-009D-CD80037823C7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856821" y="7101189"/>
            <a:ext cx="914400" cy="914400"/>
          </a:xfrm>
          <a:prstGeom prst="rect">
            <a:avLst/>
          </a:prstGeom>
        </p:spPr>
      </p:pic>
      <p:pic>
        <p:nvPicPr>
          <p:cNvPr id="89" name="Kuva 88" descr="Luettelo ääriviiva">
            <a:extLst>
              <a:ext uri="{FF2B5EF4-FFF2-40B4-BE49-F238E27FC236}">
                <a16:creationId xmlns:a16="http://schemas.microsoft.com/office/drawing/2014/main" id="{8D2A35D7-63EB-0ADF-B0CA-9B88CCAFCA57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6694237" y="7986490"/>
            <a:ext cx="914400" cy="914400"/>
          </a:xfrm>
          <a:prstGeom prst="rect">
            <a:avLst/>
          </a:prstGeom>
        </p:spPr>
      </p:pic>
      <p:pic>
        <p:nvPicPr>
          <p:cNvPr id="91" name="Kuva 90" descr="Luettelo tasaisella täytöllä">
            <a:extLst>
              <a:ext uri="{FF2B5EF4-FFF2-40B4-BE49-F238E27FC236}">
                <a16:creationId xmlns:a16="http://schemas.microsoft.com/office/drawing/2014/main" id="{04BC1638-1F83-462D-1495-81B2B66CBBDD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6722316" y="7072090"/>
            <a:ext cx="914400" cy="914400"/>
          </a:xfrm>
          <a:prstGeom prst="rect">
            <a:avLst/>
          </a:prstGeom>
        </p:spPr>
      </p:pic>
      <p:pic>
        <p:nvPicPr>
          <p:cNvPr id="93" name="Kuva 92" descr="Kirjoituslevy valittu ääriviiva">
            <a:extLst>
              <a:ext uri="{FF2B5EF4-FFF2-40B4-BE49-F238E27FC236}">
                <a16:creationId xmlns:a16="http://schemas.microsoft.com/office/drawing/2014/main" id="{B32BB17F-0434-B650-CAEC-C13F061B90AD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5752092" y="7940362"/>
            <a:ext cx="914400" cy="914400"/>
          </a:xfrm>
          <a:prstGeom prst="rect">
            <a:avLst/>
          </a:prstGeom>
        </p:spPr>
      </p:pic>
      <p:pic>
        <p:nvPicPr>
          <p:cNvPr id="106" name="Kuva 105" descr="Remontti (kimalteleva talo) tasaisella täytöllä">
            <a:extLst>
              <a:ext uri="{FF2B5EF4-FFF2-40B4-BE49-F238E27FC236}">
                <a16:creationId xmlns:a16="http://schemas.microsoft.com/office/drawing/2014/main" id="{18F9C2B0-C77B-EEB5-212D-869838920062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8195627" y="6899407"/>
            <a:ext cx="914400" cy="914400"/>
          </a:xfrm>
          <a:prstGeom prst="rect">
            <a:avLst/>
          </a:prstGeom>
        </p:spPr>
      </p:pic>
      <p:pic>
        <p:nvPicPr>
          <p:cNvPr id="108" name="Kuva 107" descr="Koti tasaisella täytöllä">
            <a:extLst>
              <a:ext uri="{FF2B5EF4-FFF2-40B4-BE49-F238E27FC236}">
                <a16:creationId xmlns:a16="http://schemas.microsoft.com/office/drawing/2014/main" id="{1E4AD444-9E4C-90EB-A43D-1EE87A33C325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9191497" y="6825525"/>
            <a:ext cx="914400" cy="914400"/>
          </a:xfrm>
          <a:prstGeom prst="rect">
            <a:avLst/>
          </a:prstGeom>
        </p:spPr>
      </p:pic>
      <p:pic>
        <p:nvPicPr>
          <p:cNvPr id="110" name="Kuva 109" descr="Talo ääriviiva">
            <a:extLst>
              <a:ext uri="{FF2B5EF4-FFF2-40B4-BE49-F238E27FC236}">
                <a16:creationId xmlns:a16="http://schemas.microsoft.com/office/drawing/2014/main" id="{C14E5163-1A24-C374-2E60-8CCD7ACCD28D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10159641" y="7708519"/>
            <a:ext cx="914400" cy="914400"/>
          </a:xfrm>
          <a:prstGeom prst="rect">
            <a:avLst/>
          </a:prstGeom>
        </p:spPr>
      </p:pic>
      <p:pic>
        <p:nvPicPr>
          <p:cNvPr id="112" name="Kuva 111" descr="Talo tasaisella täytöllä">
            <a:extLst>
              <a:ext uri="{FF2B5EF4-FFF2-40B4-BE49-F238E27FC236}">
                <a16:creationId xmlns:a16="http://schemas.microsoft.com/office/drawing/2014/main" id="{BC102C95-A491-B210-7DA8-C8B2D1277659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10114849" y="6825525"/>
            <a:ext cx="914400" cy="914400"/>
          </a:xfrm>
          <a:prstGeom prst="rect">
            <a:avLst/>
          </a:prstGeom>
        </p:spPr>
      </p:pic>
      <p:grpSp>
        <p:nvGrpSpPr>
          <p:cNvPr id="846" name="Factory">
            <a:extLst>
              <a:ext uri="{FF2B5EF4-FFF2-40B4-BE49-F238E27FC236}">
                <a16:creationId xmlns:a16="http://schemas.microsoft.com/office/drawing/2014/main" id="{805C5E5C-6454-C78F-DF8A-45A904ED16D8}"/>
              </a:ext>
            </a:extLst>
          </p:cNvPr>
          <p:cNvGrpSpPr/>
          <p:nvPr/>
        </p:nvGrpSpPr>
        <p:grpSpPr>
          <a:xfrm>
            <a:off x="4148976" y="4351259"/>
            <a:ext cx="1290048" cy="1185024"/>
            <a:chOff x="4148976" y="4351259"/>
            <a:chExt cx="1290048" cy="1185024"/>
          </a:xfrm>
        </p:grpSpPr>
        <p:pic>
          <p:nvPicPr>
            <p:cNvPr id="101" name="Kuva 100" descr="Tehdas tasaisella täytöllä">
              <a:extLst>
                <a:ext uri="{FF2B5EF4-FFF2-40B4-BE49-F238E27FC236}">
                  <a16:creationId xmlns:a16="http://schemas.microsoft.com/office/drawing/2014/main" id="{A3A84F9A-801F-A735-8B6E-1F77A68DAEC1}"/>
                </a:ext>
              </a:extLst>
            </p:cNvPr>
            <p:cNvPicPr>
              <a:picLocks noChangeAspect="1"/>
            </p:cNvPicPr>
            <p:nvPr/>
          </p:nvPicPr>
          <p:blipFill>
            <a:blip r:embed="rId90">
              <a:extLst>
                <a:ext uri="{96DAC541-7B7A-43D3-8B79-37D633B846F1}">
                  <asvg:svgBlip xmlns:asvg="http://schemas.microsoft.com/office/drawing/2016/SVG/main" r:embed="rId91"/>
                </a:ext>
              </a:extLst>
            </a:blip>
            <a:stretch>
              <a:fillRect/>
            </a:stretch>
          </p:blipFill>
          <p:spPr>
            <a:xfrm>
              <a:off x="4148976" y="4351259"/>
              <a:ext cx="1185024" cy="1185024"/>
            </a:xfrm>
            <a:prstGeom prst="rect">
              <a:avLst/>
            </a:prstGeom>
          </p:spPr>
        </p:pic>
        <p:grpSp>
          <p:nvGrpSpPr>
            <p:cNvPr id="119" name="Ryhmä 118">
              <a:extLst>
                <a:ext uri="{FF2B5EF4-FFF2-40B4-BE49-F238E27FC236}">
                  <a16:creationId xmlns:a16="http://schemas.microsoft.com/office/drawing/2014/main" id="{FE11DB87-B70D-6072-EDB0-711DA9366EC8}"/>
                </a:ext>
              </a:extLst>
            </p:cNvPr>
            <p:cNvGrpSpPr/>
            <p:nvPr/>
          </p:nvGrpSpPr>
          <p:grpSpPr>
            <a:xfrm>
              <a:off x="5187024" y="4970514"/>
              <a:ext cx="252000" cy="414000"/>
              <a:chOff x="13106400" y="3119039"/>
              <a:chExt cx="1676400" cy="2764388"/>
            </a:xfrm>
          </p:grpSpPr>
          <p:sp>
            <p:nvSpPr>
              <p:cNvPr id="120" name="Suorakulmio 119">
                <a:extLst>
                  <a:ext uri="{FF2B5EF4-FFF2-40B4-BE49-F238E27FC236}">
                    <a16:creationId xmlns:a16="http://schemas.microsoft.com/office/drawing/2014/main" id="{DA281231-9B1D-681F-0E92-12A0FC3B825D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21" name="Kuva 120">
                <a:extLst>
                  <a:ext uri="{FF2B5EF4-FFF2-40B4-BE49-F238E27FC236}">
                    <a16:creationId xmlns:a16="http://schemas.microsoft.com/office/drawing/2014/main" id="{6281CD6D-70B7-BED1-82FA-6D2A054D76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 cstate="email">
                <a:extLst>
                  <a:ext uri="{BEBA8EAE-BF5A-486C-A8C5-ECC9F3942E4B}">
                    <a14:imgProps xmlns:a14="http://schemas.microsoft.com/office/drawing/2010/main">
                      <a14:imgLayer r:embed="rId93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</p:grpSp>
      <p:grpSp>
        <p:nvGrpSpPr>
          <p:cNvPr id="850" name="LCIF house">
            <a:extLst>
              <a:ext uri="{FF2B5EF4-FFF2-40B4-BE49-F238E27FC236}">
                <a16:creationId xmlns:a16="http://schemas.microsoft.com/office/drawing/2014/main" id="{8F8A4B10-DE86-616E-BD1C-3F7BCEE5A3EA}"/>
              </a:ext>
            </a:extLst>
          </p:cNvPr>
          <p:cNvGrpSpPr/>
          <p:nvPr/>
        </p:nvGrpSpPr>
        <p:grpSpPr>
          <a:xfrm>
            <a:off x="1077344" y="2743200"/>
            <a:ext cx="1187378" cy="1134926"/>
            <a:chOff x="1077344" y="2743200"/>
            <a:chExt cx="1187378" cy="1134926"/>
          </a:xfrm>
        </p:grpSpPr>
        <p:pic>
          <p:nvPicPr>
            <p:cNvPr id="98" name="Kuva 97" descr="Kaupunki tasaisella täytöllä">
              <a:extLst>
                <a:ext uri="{FF2B5EF4-FFF2-40B4-BE49-F238E27FC236}">
                  <a16:creationId xmlns:a16="http://schemas.microsoft.com/office/drawing/2014/main" id="{307BF291-C525-369C-4C17-D2E684E9B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94">
              <a:extLst>
                <a:ext uri="{96DAC541-7B7A-43D3-8B79-37D633B846F1}">
                  <asvg:svgBlip xmlns:asvg="http://schemas.microsoft.com/office/drawing/2016/SVG/main" r:embed="rId95"/>
                </a:ext>
              </a:extLst>
            </a:blip>
            <a:stretch>
              <a:fillRect/>
            </a:stretch>
          </p:blipFill>
          <p:spPr>
            <a:xfrm>
              <a:off x="1186704" y="2963726"/>
              <a:ext cx="914400" cy="914400"/>
            </a:xfrm>
            <a:prstGeom prst="rect">
              <a:avLst/>
            </a:prstGeom>
          </p:spPr>
        </p:pic>
        <p:pic>
          <p:nvPicPr>
            <p:cNvPr id="139" name="Kuva 138" descr="Kuva, joka sisältää kohteen teksti, logo, Fontti, symboli&#10;&#10;Kuvaus luotu automaattisesti">
              <a:extLst>
                <a:ext uri="{FF2B5EF4-FFF2-40B4-BE49-F238E27FC236}">
                  <a16:creationId xmlns:a16="http://schemas.microsoft.com/office/drawing/2014/main" id="{A3144B6F-93E0-9F75-38BD-DE9A2B234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7344" y="2743200"/>
              <a:ext cx="1187378" cy="346714"/>
            </a:xfrm>
            <a:prstGeom prst="rect">
              <a:avLst/>
            </a:prstGeom>
          </p:spPr>
        </p:pic>
      </p:grpSp>
      <p:grpSp>
        <p:nvGrpSpPr>
          <p:cNvPr id="844" name="Donor money to Piggy Bank">
            <a:extLst>
              <a:ext uri="{FF2B5EF4-FFF2-40B4-BE49-F238E27FC236}">
                <a16:creationId xmlns:a16="http://schemas.microsoft.com/office/drawing/2014/main" id="{24D1C0FD-9DA9-DEC3-09BD-75026D079DD4}"/>
              </a:ext>
            </a:extLst>
          </p:cNvPr>
          <p:cNvGrpSpPr/>
          <p:nvPr/>
        </p:nvGrpSpPr>
        <p:grpSpPr>
          <a:xfrm>
            <a:off x="5295742" y="2327405"/>
            <a:ext cx="733994" cy="714469"/>
            <a:chOff x="5295742" y="2327405"/>
            <a:chExt cx="733994" cy="714469"/>
          </a:xfrm>
        </p:grpSpPr>
        <p:pic>
          <p:nvPicPr>
            <p:cNvPr id="79" name="Kuva 78" descr="Raha tasaisella täytöllä">
              <a:extLst>
                <a:ext uri="{FF2B5EF4-FFF2-40B4-BE49-F238E27FC236}">
                  <a16:creationId xmlns:a16="http://schemas.microsoft.com/office/drawing/2014/main" id="{F1240544-48E3-0025-002F-46E8679FCEDA}"/>
                </a:ext>
              </a:extLst>
            </p:cNvPr>
            <p:cNvPicPr>
              <a:picLocks noChangeAspect="1"/>
            </p:cNvPicPr>
            <p:nvPr/>
          </p:nvPicPr>
          <p:blipFill>
            <a:blip r:embed="rId97">
              <a:extLst>
                <a:ext uri="{96DAC541-7B7A-43D3-8B79-37D633B846F1}">
                  <asvg:svgBlip xmlns:asvg="http://schemas.microsoft.com/office/drawing/2016/SVG/main" r:embed="rId98"/>
                </a:ext>
              </a:extLst>
            </a:blip>
            <a:stretch>
              <a:fillRect/>
            </a:stretch>
          </p:blipFill>
          <p:spPr>
            <a:xfrm>
              <a:off x="5412821" y="2327405"/>
              <a:ext cx="616915" cy="616915"/>
            </a:xfrm>
            <a:prstGeom prst="rect">
              <a:avLst/>
            </a:prstGeom>
          </p:spPr>
        </p:pic>
        <p:cxnSp>
          <p:nvCxnSpPr>
            <p:cNvPr id="144" name="Suora nuoliyhdysviiva 143">
              <a:extLst>
                <a:ext uri="{FF2B5EF4-FFF2-40B4-BE49-F238E27FC236}">
                  <a16:creationId xmlns:a16="http://schemas.microsoft.com/office/drawing/2014/main" id="{940652CD-BA5A-15F3-FA28-E6DC18A2F6B3}"/>
                </a:ext>
              </a:extLst>
            </p:cNvPr>
            <p:cNvCxnSpPr/>
            <p:nvPr/>
          </p:nvCxnSpPr>
          <p:spPr bwMode="auto">
            <a:xfrm>
              <a:off x="5295742" y="2421972"/>
              <a:ext cx="0" cy="619902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grpSp>
        <p:nvGrpSpPr>
          <p:cNvPr id="849" name="Money &amp; donor info to LCIF">
            <a:extLst>
              <a:ext uri="{FF2B5EF4-FFF2-40B4-BE49-F238E27FC236}">
                <a16:creationId xmlns:a16="http://schemas.microsoft.com/office/drawing/2014/main" id="{1CE443E3-8DA7-3837-EE61-C4D00EAA6D08}"/>
              </a:ext>
            </a:extLst>
          </p:cNvPr>
          <p:cNvGrpSpPr/>
          <p:nvPr/>
        </p:nvGrpSpPr>
        <p:grpSpPr>
          <a:xfrm>
            <a:off x="2297142" y="3006230"/>
            <a:ext cx="1905000" cy="458680"/>
            <a:chOff x="2297142" y="3006230"/>
            <a:chExt cx="1905000" cy="458680"/>
          </a:xfrm>
        </p:grpSpPr>
        <p:pic>
          <p:nvPicPr>
            <p:cNvPr id="124" name="Kuva 123" descr="Raha tasaisella täytöllä">
              <a:extLst>
                <a:ext uri="{FF2B5EF4-FFF2-40B4-BE49-F238E27FC236}">
                  <a16:creationId xmlns:a16="http://schemas.microsoft.com/office/drawing/2014/main" id="{FE75C076-111A-34EE-5F5D-9963F27230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7">
              <a:extLst>
                <a:ext uri="{96DAC541-7B7A-43D3-8B79-37D633B846F1}">
                  <asvg:svgBlip xmlns:asvg="http://schemas.microsoft.com/office/drawing/2016/SVG/main" r:embed="rId98"/>
                </a:ext>
              </a:extLst>
            </a:blip>
            <a:stretch>
              <a:fillRect/>
            </a:stretch>
          </p:blipFill>
          <p:spPr>
            <a:xfrm>
              <a:off x="3315495" y="3053543"/>
              <a:ext cx="325899" cy="325899"/>
            </a:xfrm>
            <a:prstGeom prst="rect">
              <a:avLst/>
            </a:prstGeom>
          </p:spPr>
        </p:pic>
        <p:pic>
          <p:nvPicPr>
            <p:cNvPr id="138" name="Kuva 137" descr="Luettelo tasaisella täytöllä">
              <a:extLst>
                <a:ext uri="{FF2B5EF4-FFF2-40B4-BE49-F238E27FC236}">
                  <a16:creationId xmlns:a16="http://schemas.microsoft.com/office/drawing/2014/main" id="{F975F223-014E-6F50-45A6-16CEF5E03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9">
              <a:extLst>
                <a:ext uri="{96DAC541-7B7A-43D3-8B79-37D633B846F1}">
                  <asvg:svgBlip xmlns:asvg="http://schemas.microsoft.com/office/drawing/2016/SVG/main" r:embed="rId100"/>
                </a:ext>
              </a:extLst>
            </a:blip>
            <a:stretch>
              <a:fillRect/>
            </a:stretch>
          </p:blipFill>
          <p:spPr>
            <a:xfrm>
              <a:off x="2922139" y="3006230"/>
              <a:ext cx="432000" cy="432000"/>
            </a:xfrm>
            <a:prstGeom prst="rect">
              <a:avLst/>
            </a:prstGeom>
          </p:spPr>
        </p:pic>
        <p:cxnSp>
          <p:nvCxnSpPr>
            <p:cNvPr id="150" name="Suora nuoliyhdysviiva 149">
              <a:extLst>
                <a:ext uri="{FF2B5EF4-FFF2-40B4-BE49-F238E27FC236}">
                  <a16:creationId xmlns:a16="http://schemas.microsoft.com/office/drawing/2014/main" id="{C4E6E47C-634D-D47C-E9E9-9B238C151F0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297142" y="3464910"/>
              <a:ext cx="1905000" cy="0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grpSp>
        <p:nvGrpSpPr>
          <p:cNvPr id="851" name="MJF credit to donors">
            <a:extLst>
              <a:ext uri="{FF2B5EF4-FFF2-40B4-BE49-F238E27FC236}">
                <a16:creationId xmlns:a16="http://schemas.microsoft.com/office/drawing/2014/main" id="{CC703BFC-C0AD-23CB-5F4C-E54F1ABB351C}"/>
              </a:ext>
            </a:extLst>
          </p:cNvPr>
          <p:cNvGrpSpPr/>
          <p:nvPr/>
        </p:nvGrpSpPr>
        <p:grpSpPr>
          <a:xfrm>
            <a:off x="1676400" y="1872911"/>
            <a:ext cx="2986909" cy="694248"/>
            <a:chOff x="1676400" y="1872911"/>
            <a:chExt cx="2986909" cy="694248"/>
          </a:xfrm>
        </p:grpSpPr>
        <p:pic>
          <p:nvPicPr>
            <p:cNvPr id="95" name="Kuva 94" descr="Kirjoituslevy valittu tasaisella täytöllä">
              <a:extLst>
                <a:ext uri="{FF2B5EF4-FFF2-40B4-BE49-F238E27FC236}">
                  <a16:creationId xmlns:a16="http://schemas.microsoft.com/office/drawing/2014/main" id="{EB0EED4D-0C51-CDAD-B07B-A2BB4D89C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1">
              <a:extLst>
                <a:ext uri="{96DAC541-7B7A-43D3-8B79-37D633B846F1}">
                  <asvg:svgBlip xmlns:asvg="http://schemas.microsoft.com/office/drawing/2016/SVG/main" r:embed="rId102"/>
                </a:ext>
              </a:extLst>
            </a:blip>
            <a:stretch>
              <a:fillRect/>
            </a:stretch>
          </p:blipFill>
          <p:spPr>
            <a:xfrm>
              <a:off x="1801488" y="2006327"/>
              <a:ext cx="432000" cy="432000"/>
            </a:xfrm>
            <a:prstGeom prst="rect">
              <a:avLst/>
            </a:prstGeom>
          </p:spPr>
        </p:pic>
        <p:sp>
          <p:nvSpPr>
            <p:cNvPr id="146" name="Tekstiruutu 145">
              <a:extLst>
                <a:ext uri="{FF2B5EF4-FFF2-40B4-BE49-F238E27FC236}">
                  <a16:creationId xmlns:a16="http://schemas.microsoft.com/office/drawing/2014/main" id="{EF534E16-0F25-4B37-24C2-54EAA2EA4A24}"/>
                </a:ext>
              </a:extLst>
            </p:cNvPr>
            <p:cNvSpPr txBox="1"/>
            <p:nvPr/>
          </p:nvSpPr>
          <p:spPr>
            <a:xfrm>
              <a:off x="2064241" y="2104683"/>
              <a:ext cx="712487" cy="328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60000"/>
                </a:lnSpc>
              </a:pPr>
              <a:r>
                <a:rPr lang="fi-FI" sz="1600" spc="100" dirty="0">
                  <a:latin typeface="Aptos Black" panose="020F0502020204030204" pitchFamily="34" charset="0"/>
                </a:rPr>
                <a:t>MJF</a:t>
              </a:r>
              <a:br>
                <a:rPr lang="fi-FI" sz="1600" spc="100" dirty="0">
                  <a:latin typeface="Aptos Black" panose="020F0502020204030204" pitchFamily="34" charset="0"/>
                </a:rPr>
              </a:br>
              <a:r>
                <a:rPr lang="fi-FI" sz="900" spc="100" dirty="0" err="1">
                  <a:cs typeface="Arial" panose="020B0604020202020204" pitchFamily="34" charset="0"/>
                </a:rPr>
                <a:t>credit</a:t>
              </a:r>
              <a:endParaRPr lang="fi-FI" sz="900" spc="100" dirty="0">
                <a:cs typeface="Arial" panose="020B0604020202020204" pitchFamily="34" charset="0"/>
              </a:endParaRPr>
            </a:p>
          </p:txBody>
        </p:sp>
        <p:cxnSp>
          <p:nvCxnSpPr>
            <p:cNvPr id="152" name="Suora nuoliyhdysviiva 151">
              <a:extLst>
                <a:ext uri="{FF2B5EF4-FFF2-40B4-BE49-F238E27FC236}">
                  <a16:creationId xmlns:a16="http://schemas.microsoft.com/office/drawing/2014/main" id="{73E31B52-147D-A259-D98B-F121647F495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76400" y="1893166"/>
              <a:ext cx="2986909" cy="0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155" name="Suora yhdysviiva 154">
              <a:extLst>
                <a:ext uri="{FF2B5EF4-FFF2-40B4-BE49-F238E27FC236}">
                  <a16:creationId xmlns:a16="http://schemas.microsoft.com/office/drawing/2014/main" id="{816FC1CF-9D93-C4FC-9C54-A40ECC9B7835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697355" y="1872911"/>
              <a:ext cx="0" cy="694248"/>
            </a:xfrm>
            <a:prstGeom prst="line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45" name="Stove permission to factory">
            <a:extLst>
              <a:ext uri="{FF2B5EF4-FFF2-40B4-BE49-F238E27FC236}">
                <a16:creationId xmlns:a16="http://schemas.microsoft.com/office/drawing/2014/main" id="{931D9B2D-2982-9414-0AFB-E5AFD56ADBAA}"/>
              </a:ext>
            </a:extLst>
          </p:cNvPr>
          <p:cNvGrpSpPr/>
          <p:nvPr/>
        </p:nvGrpSpPr>
        <p:grpSpPr>
          <a:xfrm>
            <a:off x="5029200" y="3956274"/>
            <a:ext cx="691609" cy="619902"/>
            <a:chOff x="5029200" y="3956274"/>
            <a:chExt cx="691609" cy="619902"/>
          </a:xfrm>
        </p:grpSpPr>
        <p:pic>
          <p:nvPicPr>
            <p:cNvPr id="125" name="Kuva 124" descr="Tarkistusluettelo tasaisella täytöllä">
              <a:extLst>
                <a:ext uri="{FF2B5EF4-FFF2-40B4-BE49-F238E27FC236}">
                  <a16:creationId xmlns:a16="http://schemas.microsoft.com/office/drawing/2014/main" id="{F7AE16AB-EFB1-16CB-D1E3-6FD350757E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3">
              <a:extLst>
                <a:ext uri="{96DAC541-7B7A-43D3-8B79-37D633B846F1}">
                  <asvg:svgBlip xmlns:asvg="http://schemas.microsoft.com/office/drawing/2016/SVG/main" r:embed="rId104"/>
                </a:ext>
              </a:extLst>
            </a:blip>
            <a:stretch>
              <a:fillRect/>
            </a:stretch>
          </p:blipFill>
          <p:spPr>
            <a:xfrm>
              <a:off x="5104527" y="3962400"/>
              <a:ext cx="427563" cy="427563"/>
            </a:xfrm>
            <a:prstGeom prst="rect">
              <a:avLst/>
            </a:prstGeom>
          </p:spPr>
        </p:pic>
        <p:grpSp>
          <p:nvGrpSpPr>
            <p:cNvPr id="126" name="Ryhmä 125">
              <a:extLst>
                <a:ext uri="{FF2B5EF4-FFF2-40B4-BE49-F238E27FC236}">
                  <a16:creationId xmlns:a16="http://schemas.microsoft.com/office/drawing/2014/main" id="{C5615B5A-AC4F-5910-2818-194F3540DB3A}"/>
                </a:ext>
              </a:extLst>
            </p:cNvPr>
            <p:cNvGrpSpPr/>
            <p:nvPr/>
          </p:nvGrpSpPr>
          <p:grpSpPr>
            <a:xfrm>
              <a:off x="5468809" y="3972654"/>
              <a:ext cx="252000" cy="414000"/>
              <a:chOff x="13106400" y="3119039"/>
              <a:chExt cx="1676400" cy="2764388"/>
            </a:xfrm>
          </p:grpSpPr>
          <p:sp>
            <p:nvSpPr>
              <p:cNvPr id="127" name="Suorakulmio 126">
                <a:extLst>
                  <a:ext uri="{FF2B5EF4-FFF2-40B4-BE49-F238E27FC236}">
                    <a16:creationId xmlns:a16="http://schemas.microsoft.com/office/drawing/2014/main" id="{69DF1177-664D-82D3-DA5C-DD9D05496BCB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28" name="Kuva 127">
                <a:extLst>
                  <a:ext uri="{FF2B5EF4-FFF2-40B4-BE49-F238E27FC236}">
                    <a16:creationId xmlns:a16="http://schemas.microsoft.com/office/drawing/2014/main" id="{4A7AF9D9-2F48-C981-D779-7A185B56F0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 cstate="email">
                <a:extLst>
                  <a:ext uri="{BEBA8EAE-BF5A-486C-A8C5-ECC9F3942E4B}">
                    <a14:imgProps xmlns:a14="http://schemas.microsoft.com/office/drawing/2010/main">
                      <a14:imgLayer r:embed="rId105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cxnSp>
          <p:nvCxnSpPr>
            <p:cNvPr id="156" name="Suora nuoliyhdysviiva 155">
              <a:extLst>
                <a:ext uri="{FF2B5EF4-FFF2-40B4-BE49-F238E27FC236}">
                  <a16:creationId xmlns:a16="http://schemas.microsoft.com/office/drawing/2014/main" id="{11F1BC14-6130-59BD-A8D4-D1E1A1AF8E07}"/>
                </a:ext>
              </a:extLst>
            </p:cNvPr>
            <p:cNvCxnSpPr/>
            <p:nvPr/>
          </p:nvCxnSpPr>
          <p:spPr bwMode="auto">
            <a:xfrm>
              <a:off x="5029200" y="3956274"/>
              <a:ext cx="0" cy="619902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grpSp>
        <p:nvGrpSpPr>
          <p:cNvPr id="848" name="Truck - ready to go (large)">
            <a:extLst>
              <a:ext uri="{FF2B5EF4-FFF2-40B4-BE49-F238E27FC236}">
                <a16:creationId xmlns:a16="http://schemas.microsoft.com/office/drawing/2014/main" id="{0613726B-E6D0-FF0C-1743-6599E608BFCA}"/>
              </a:ext>
            </a:extLst>
          </p:cNvPr>
          <p:cNvGrpSpPr/>
          <p:nvPr/>
        </p:nvGrpSpPr>
        <p:grpSpPr>
          <a:xfrm>
            <a:off x="4029729" y="5436061"/>
            <a:ext cx="2038444" cy="1176364"/>
            <a:chOff x="4029729" y="5436061"/>
            <a:chExt cx="2038444" cy="1176364"/>
          </a:xfrm>
        </p:grpSpPr>
        <p:grpSp>
          <p:nvGrpSpPr>
            <p:cNvPr id="129" name="Ryhmä 128">
              <a:extLst>
                <a:ext uri="{FF2B5EF4-FFF2-40B4-BE49-F238E27FC236}">
                  <a16:creationId xmlns:a16="http://schemas.microsoft.com/office/drawing/2014/main" id="{C0A20C26-39DC-9C56-102A-5D8A0301DF02}"/>
                </a:ext>
              </a:extLst>
            </p:cNvPr>
            <p:cNvGrpSpPr/>
            <p:nvPr/>
          </p:nvGrpSpPr>
          <p:grpSpPr>
            <a:xfrm>
              <a:off x="4504418" y="6141009"/>
              <a:ext cx="252000" cy="414000"/>
              <a:chOff x="13106400" y="3119039"/>
              <a:chExt cx="1676400" cy="2764388"/>
            </a:xfrm>
          </p:grpSpPr>
          <p:sp>
            <p:nvSpPr>
              <p:cNvPr id="130" name="Suorakulmio 129">
                <a:extLst>
                  <a:ext uri="{FF2B5EF4-FFF2-40B4-BE49-F238E27FC236}">
                    <a16:creationId xmlns:a16="http://schemas.microsoft.com/office/drawing/2014/main" id="{6D59FF40-A514-F9B9-DA0B-42EE5F77E0D4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31" name="Kuva 130">
                <a:extLst>
                  <a:ext uri="{FF2B5EF4-FFF2-40B4-BE49-F238E27FC236}">
                    <a16:creationId xmlns:a16="http://schemas.microsoft.com/office/drawing/2014/main" id="{FC4AD255-3583-2A1C-7951-E8BC245587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 cstate="email">
                <a:extLst>
                  <a:ext uri="{BEBA8EAE-BF5A-486C-A8C5-ECC9F3942E4B}">
                    <a14:imgProps xmlns:a14="http://schemas.microsoft.com/office/drawing/2010/main">
                      <a14:imgLayer r:embed="rId106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32" name="Ryhmä 131">
              <a:extLst>
                <a:ext uri="{FF2B5EF4-FFF2-40B4-BE49-F238E27FC236}">
                  <a16:creationId xmlns:a16="http://schemas.microsoft.com/office/drawing/2014/main" id="{0C50D07E-5695-CEE9-274D-680C16C02565}"/>
                </a:ext>
              </a:extLst>
            </p:cNvPr>
            <p:cNvGrpSpPr/>
            <p:nvPr/>
          </p:nvGrpSpPr>
          <p:grpSpPr>
            <a:xfrm>
              <a:off x="4267373" y="6135168"/>
              <a:ext cx="252000" cy="414000"/>
              <a:chOff x="13106400" y="3119039"/>
              <a:chExt cx="1676400" cy="2764388"/>
            </a:xfrm>
          </p:grpSpPr>
          <p:sp>
            <p:nvSpPr>
              <p:cNvPr id="133" name="Suorakulmio 132">
                <a:extLst>
                  <a:ext uri="{FF2B5EF4-FFF2-40B4-BE49-F238E27FC236}">
                    <a16:creationId xmlns:a16="http://schemas.microsoft.com/office/drawing/2014/main" id="{8306E5C2-EBE6-D36E-E5C0-0E5EDA3A4D2B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34" name="Kuva 133">
                <a:extLst>
                  <a:ext uri="{FF2B5EF4-FFF2-40B4-BE49-F238E27FC236}">
                    <a16:creationId xmlns:a16="http://schemas.microsoft.com/office/drawing/2014/main" id="{3B61AD19-9F15-8603-06D0-2D6AFDC7ED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 cstate="email">
                <a:extLst>
                  <a:ext uri="{BEBA8EAE-BF5A-486C-A8C5-ECC9F3942E4B}">
                    <a14:imgProps xmlns:a14="http://schemas.microsoft.com/office/drawing/2010/main">
                      <a14:imgLayer r:embed="rId106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35" name="Ryhmä 134">
              <a:extLst>
                <a:ext uri="{FF2B5EF4-FFF2-40B4-BE49-F238E27FC236}">
                  <a16:creationId xmlns:a16="http://schemas.microsoft.com/office/drawing/2014/main" id="{98FB7E63-1208-3E64-31EE-D3345D7CE4F9}"/>
                </a:ext>
              </a:extLst>
            </p:cNvPr>
            <p:cNvGrpSpPr/>
            <p:nvPr/>
          </p:nvGrpSpPr>
          <p:grpSpPr>
            <a:xfrm>
              <a:off x="4029729" y="6149450"/>
              <a:ext cx="252000" cy="414000"/>
              <a:chOff x="13106400" y="3119039"/>
              <a:chExt cx="1676400" cy="2764388"/>
            </a:xfrm>
          </p:grpSpPr>
          <p:sp>
            <p:nvSpPr>
              <p:cNvPr id="136" name="Suorakulmio 135">
                <a:extLst>
                  <a:ext uri="{FF2B5EF4-FFF2-40B4-BE49-F238E27FC236}">
                    <a16:creationId xmlns:a16="http://schemas.microsoft.com/office/drawing/2014/main" id="{6F83BA8E-6814-09E9-3A3C-D22F561139D1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37" name="Kuva 136">
                <a:extLst>
                  <a:ext uri="{FF2B5EF4-FFF2-40B4-BE49-F238E27FC236}">
                    <a16:creationId xmlns:a16="http://schemas.microsoft.com/office/drawing/2014/main" id="{2F3EA9BD-6FD3-F64F-D520-167C5C7644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 cstate="email">
                <a:extLst>
                  <a:ext uri="{BEBA8EAE-BF5A-486C-A8C5-ECC9F3942E4B}">
                    <a14:imgProps xmlns:a14="http://schemas.microsoft.com/office/drawing/2010/main">
                      <a14:imgLayer r:embed="rId107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42" name="Ryhmä 141">
              <a:extLst>
                <a:ext uri="{FF2B5EF4-FFF2-40B4-BE49-F238E27FC236}">
                  <a16:creationId xmlns:a16="http://schemas.microsoft.com/office/drawing/2014/main" id="{CB1CAC93-61C8-EB9F-ED4E-33EDA332312D}"/>
                </a:ext>
              </a:extLst>
            </p:cNvPr>
            <p:cNvGrpSpPr/>
            <p:nvPr/>
          </p:nvGrpSpPr>
          <p:grpSpPr>
            <a:xfrm>
              <a:off x="4729189" y="5789506"/>
              <a:ext cx="1338984" cy="822919"/>
              <a:chOff x="4757016" y="5726250"/>
              <a:chExt cx="1338984" cy="822919"/>
            </a:xfrm>
          </p:grpSpPr>
          <p:pic>
            <p:nvPicPr>
              <p:cNvPr id="104" name="Kuva 103" descr="Kuorma-auto tasaisella täytöllä">
                <a:extLst>
                  <a:ext uri="{FF2B5EF4-FFF2-40B4-BE49-F238E27FC236}">
                    <a16:creationId xmlns:a16="http://schemas.microsoft.com/office/drawing/2014/main" id="{3C6F5F6F-69D5-1AB5-9E61-69D204CE1D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8">
                <a:extLst>
                  <a:ext uri="{96DAC541-7B7A-43D3-8B79-37D633B846F1}">
                    <asvg:svgBlip xmlns:asvg="http://schemas.microsoft.com/office/drawing/2016/SVG/main" r:embed="rId109"/>
                  </a:ext>
                </a:extLst>
              </a:blip>
              <a:srcRect t="18780" b="19762"/>
              <a:stretch/>
            </p:blipFill>
            <p:spPr>
              <a:xfrm>
                <a:off x="4757016" y="5726250"/>
                <a:ext cx="1338984" cy="822919"/>
              </a:xfrm>
              <a:prstGeom prst="rect">
                <a:avLst/>
              </a:prstGeom>
            </p:spPr>
          </p:pic>
          <p:pic>
            <p:nvPicPr>
              <p:cNvPr id="141" name="Picture 6">
                <a:extLst>
                  <a:ext uri="{FF2B5EF4-FFF2-40B4-BE49-F238E27FC236}">
                    <a16:creationId xmlns:a16="http://schemas.microsoft.com/office/drawing/2014/main" id="{841864EF-3F4E-C6F0-A4A8-2A29C129E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0"/>
              <a:stretch>
                <a:fillRect/>
              </a:stretch>
            </p:blipFill>
            <p:spPr>
              <a:xfrm>
                <a:off x="5029200" y="5817843"/>
                <a:ext cx="336032" cy="319230"/>
              </a:xfrm>
              <a:prstGeom prst="rect">
                <a:avLst/>
              </a:prstGeom>
            </p:spPr>
          </p:pic>
        </p:grpSp>
        <p:cxnSp>
          <p:nvCxnSpPr>
            <p:cNvPr id="157" name="Suora nuoliyhdysviiva 156">
              <a:extLst>
                <a:ext uri="{FF2B5EF4-FFF2-40B4-BE49-F238E27FC236}">
                  <a16:creationId xmlns:a16="http://schemas.microsoft.com/office/drawing/2014/main" id="{54176638-8183-A285-8944-2408936B945C}"/>
                </a:ext>
              </a:extLst>
            </p:cNvPr>
            <p:cNvCxnSpPr/>
            <p:nvPr/>
          </p:nvCxnSpPr>
          <p:spPr bwMode="auto">
            <a:xfrm>
              <a:off x="4470516" y="5436061"/>
              <a:ext cx="0" cy="619902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grpSp>
        <p:nvGrpSpPr>
          <p:cNvPr id="847" name="Money arrow to factory">
            <a:extLst>
              <a:ext uri="{FF2B5EF4-FFF2-40B4-BE49-F238E27FC236}">
                <a16:creationId xmlns:a16="http://schemas.microsoft.com/office/drawing/2014/main" id="{1CC856C3-8186-A7F0-9570-C8B097C67B86}"/>
              </a:ext>
            </a:extLst>
          </p:cNvPr>
          <p:cNvGrpSpPr/>
          <p:nvPr/>
        </p:nvGrpSpPr>
        <p:grpSpPr>
          <a:xfrm>
            <a:off x="1600200" y="3956274"/>
            <a:ext cx="2601942" cy="1198843"/>
            <a:chOff x="1600200" y="3956274"/>
            <a:chExt cx="2601942" cy="1198843"/>
          </a:xfrm>
        </p:grpSpPr>
        <p:cxnSp>
          <p:nvCxnSpPr>
            <p:cNvPr id="158" name="Suora nuoliyhdysviiva 157">
              <a:extLst>
                <a:ext uri="{FF2B5EF4-FFF2-40B4-BE49-F238E27FC236}">
                  <a16:creationId xmlns:a16="http://schemas.microsoft.com/office/drawing/2014/main" id="{D27A7361-69E7-85DF-951C-18340FAB13B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00200" y="5136067"/>
              <a:ext cx="2601942" cy="0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159" name="Suora yhdysviiva 158">
              <a:extLst>
                <a:ext uri="{FF2B5EF4-FFF2-40B4-BE49-F238E27FC236}">
                  <a16:creationId xmlns:a16="http://schemas.microsoft.com/office/drawing/2014/main" id="{A882E96E-46DC-F4C9-FF12-A215A324ABC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621155" y="3956274"/>
              <a:ext cx="0" cy="1198843"/>
            </a:xfrm>
            <a:prstGeom prst="line">
              <a:avLst/>
            </a:prstGeom>
            <a:solidFill>
              <a:srgbClr val="FFFFFF"/>
            </a:solidFill>
            <a:ln w="412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63" name="Kuva 162" descr="Raha tasaisella täytöllä">
              <a:extLst>
                <a:ext uri="{FF2B5EF4-FFF2-40B4-BE49-F238E27FC236}">
                  <a16:creationId xmlns:a16="http://schemas.microsoft.com/office/drawing/2014/main" id="{192D3393-55D5-53A1-BD3D-7D79AC3C3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7">
              <a:extLst>
                <a:ext uri="{96DAC541-7B7A-43D3-8B79-37D633B846F1}">
                  <asvg:svgBlip xmlns:asvg="http://schemas.microsoft.com/office/drawing/2016/SVG/main" r:embed="rId98"/>
                </a:ext>
              </a:extLst>
            </a:blip>
            <a:stretch>
              <a:fillRect/>
            </a:stretch>
          </p:blipFill>
          <p:spPr>
            <a:xfrm>
              <a:off x="1770558" y="4467262"/>
              <a:ext cx="616915" cy="616915"/>
            </a:xfrm>
            <a:prstGeom prst="rect">
              <a:avLst/>
            </a:prstGeom>
          </p:spPr>
        </p:pic>
        <p:pic>
          <p:nvPicPr>
            <p:cNvPr id="165" name="Kuva 164" descr="Tarkistusluettelo tasaisella täytöllä">
              <a:extLst>
                <a:ext uri="{FF2B5EF4-FFF2-40B4-BE49-F238E27FC236}">
                  <a16:creationId xmlns:a16="http://schemas.microsoft.com/office/drawing/2014/main" id="{2822B2C7-8BC5-551D-DA48-9348AF338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3">
              <a:extLst>
                <a:ext uri="{96DAC541-7B7A-43D3-8B79-37D633B846F1}">
                  <asvg:svgBlip xmlns:asvg="http://schemas.microsoft.com/office/drawing/2016/SVG/main" r:embed="rId104"/>
                </a:ext>
              </a:extLst>
            </a:blip>
            <a:stretch>
              <a:fillRect/>
            </a:stretch>
          </p:blipFill>
          <p:spPr>
            <a:xfrm>
              <a:off x="2402253" y="4609091"/>
              <a:ext cx="427563" cy="427563"/>
            </a:xfrm>
            <a:prstGeom prst="rect">
              <a:avLst/>
            </a:prstGeom>
          </p:spPr>
        </p:pic>
      </p:grpSp>
      <p:grpSp>
        <p:nvGrpSpPr>
          <p:cNvPr id="854" name="MAp of Europe">
            <a:extLst>
              <a:ext uri="{FF2B5EF4-FFF2-40B4-BE49-F238E27FC236}">
                <a16:creationId xmlns:a16="http://schemas.microsoft.com/office/drawing/2014/main" id="{D1D6BE45-E0A3-716D-19F8-8EC11BD1593F}"/>
              </a:ext>
            </a:extLst>
          </p:cNvPr>
          <p:cNvGrpSpPr/>
          <p:nvPr/>
        </p:nvGrpSpPr>
        <p:grpSpPr>
          <a:xfrm>
            <a:off x="6729963" y="941716"/>
            <a:ext cx="5508996" cy="5916283"/>
            <a:chOff x="6729963" y="941716"/>
            <a:chExt cx="5508996" cy="5916283"/>
          </a:xfrm>
        </p:grpSpPr>
        <p:sp>
          <p:nvSpPr>
            <p:cNvPr id="293" name="Suorakulmio 292">
              <a:extLst>
                <a:ext uri="{FF2B5EF4-FFF2-40B4-BE49-F238E27FC236}">
                  <a16:creationId xmlns:a16="http://schemas.microsoft.com/office/drawing/2014/main" id="{5C1BD35E-8545-922B-A296-3925883A815A}"/>
                </a:ext>
              </a:extLst>
            </p:cNvPr>
            <p:cNvSpPr/>
            <p:nvPr/>
          </p:nvSpPr>
          <p:spPr bwMode="auto">
            <a:xfrm>
              <a:off x="6729963" y="941716"/>
              <a:ext cx="5508996" cy="5916283"/>
            </a:xfrm>
            <a:prstGeom prst="rect">
              <a:avLst/>
            </a:prstGeom>
            <a:solidFill>
              <a:srgbClr val="9BDE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pic>
          <p:nvPicPr>
            <p:cNvPr id="860" name="Kuva 859">
              <a:extLst>
                <a:ext uri="{FF2B5EF4-FFF2-40B4-BE49-F238E27FC236}">
                  <a16:creationId xmlns:a16="http://schemas.microsoft.com/office/drawing/2014/main" id="{6705F93C-9C02-84EA-1D1C-25E46C4E3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102" t="21364" r="18068"/>
            <a:stretch/>
          </p:blipFill>
          <p:spPr>
            <a:xfrm>
              <a:off x="6795737" y="941717"/>
              <a:ext cx="5402048" cy="5892422"/>
            </a:xfrm>
            <a:prstGeom prst="rect">
              <a:avLst/>
            </a:prstGeom>
          </p:spPr>
        </p:pic>
      </p:grpSp>
      <p:sp>
        <p:nvSpPr>
          <p:cNvPr id="297" name="Ellipsi 296">
            <a:extLst>
              <a:ext uri="{FF2B5EF4-FFF2-40B4-BE49-F238E27FC236}">
                <a16:creationId xmlns:a16="http://schemas.microsoft.com/office/drawing/2014/main" id="{92327FC8-84D3-A397-C0C2-3F00A17EF55D}"/>
              </a:ext>
            </a:extLst>
          </p:cNvPr>
          <p:cNvSpPr/>
          <p:nvPr/>
        </p:nvSpPr>
        <p:spPr bwMode="auto">
          <a:xfrm>
            <a:off x="10219677" y="2002961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cxnSp>
        <p:nvCxnSpPr>
          <p:cNvPr id="299" name="Suora yhdysviiva 298">
            <a:extLst>
              <a:ext uri="{FF2B5EF4-FFF2-40B4-BE49-F238E27FC236}">
                <a16:creationId xmlns:a16="http://schemas.microsoft.com/office/drawing/2014/main" id="{83D8B887-26DA-9F10-1FEB-79F22460F733}"/>
              </a:ext>
            </a:extLst>
          </p:cNvPr>
          <p:cNvCxnSpPr>
            <a:cxnSpLocks/>
          </p:cNvCxnSpPr>
          <p:nvPr/>
        </p:nvCxnSpPr>
        <p:spPr bwMode="auto">
          <a:xfrm flipH="1">
            <a:off x="10213641" y="2057400"/>
            <a:ext cx="60036" cy="678005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0" name="Ellipsi 299">
            <a:extLst>
              <a:ext uri="{FF2B5EF4-FFF2-40B4-BE49-F238E27FC236}">
                <a16:creationId xmlns:a16="http://schemas.microsoft.com/office/drawing/2014/main" id="{0B43D171-F66D-95F2-8430-C9380A2E794A}"/>
              </a:ext>
            </a:extLst>
          </p:cNvPr>
          <p:cNvSpPr/>
          <p:nvPr/>
        </p:nvSpPr>
        <p:spPr bwMode="auto">
          <a:xfrm>
            <a:off x="10159641" y="2680966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306" name="Ellipsi 305">
            <a:extLst>
              <a:ext uri="{FF2B5EF4-FFF2-40B4-BE49-F238E27FC236}">
                <a16:creationId xmlns:a16="http://schemas.microsoft.com/office/drawing/2014/main" id="{4EF6BC17-9A93-03CF-B5CC-8E4D3D247577}"/>
              </a:ext>
            </a:extLst>
          </p:cNvPr>
          <p:cNvSpPr/>
          <p:nvPr/>
        </p:nvSpPr>
        <p:spPr bwMode="auto">
          <a:xfrm>
            <a:off x="10294718" y="3485865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307" name="Ellipsi 306">
            <a:extLst>
              <a:ext uri="{FF2B5EF4-FFF2-40B4-BE49-F238E27FC236}">
                <a16:creationId xmlns:a16="http://schemas.microsoft.com/office/drawing/2014/main" id="{CD6F67BE-4EA1-F891-A8F9-7E65EBDA5FDC}"/>
              </a:ext>
            </a:extLst>
          </p:cNvPr>
          <p:cNvSpPr/>
          <p:nvPr/>
        </p:nvSpPr>
        <p:spPr bwMode="auto">
          <a:xfrm>
            <a:off x="10006849" y="4038600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308" name="Ellipsi 307">
            <a:extLst>
              <a:ext uri="{FF2B5EF4-FFF2-40B4-BE49-F238E27FC236}">
                <a16:creationId xmlns:a16="http://schemas.microsoft.com/office/drawing/2014/main" id="{0E27ADD9-B3FE-1F3F-6E76-546CDF28BFCB}"/>
              </a:ext>
            </a:extLst>
          </p:cNvPr>
          <p:cNvSpPr/>
          <p:nvPr/>
        </p:nvSpPr>
        <p:spPr bwMode="auto">
          <a:xfrm>
            <a:off x="10333260" y="4282102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cxnSp>
        <p:nvCxnSpPr>
          <p:cNvPr id="309" name="Suora yhdysviiva 308">
            <a:extLst>
              <a:ext uri="{FF2B5EF4-FFF2-40B4-BE49-F238E27FC236}">
                <a16:creationId xmlns:a16="http://schemas.microsoft.com/office/drawing/2014/main" id="{F5F78376-14EF-909E-56AE-F7C21ABF1138}"/>
              </a:ext>
            </a:extLst>
          </p:cNvPr>
          <p:cNvCxnSpPr>
            <a:cxnSpLocks/>
          </p:cNvCxnSpPr>
          <p:nvPr/>
        </p:nvCxnSpPr>
        <p:spPr bwMode="auto">
          <a:xfrm>
            <a:off x="10213641" y="2743200"/>
            <a:ext cx="135077" cy="804899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2" name="Suora yhdysviiva 311">
            <a:extLst>
              <a:ext uri="{FF2B5EF4-FFF2-40B4-BE49-F238E27FC236}">
                <a16:creationId xmlns:a16="http://schemas.microsoft.com/office/drawing/2014/main" id="{DCAB0436-98D0-26CC-EE58-FD986EC1346C}"/>
              </a:ext>
            </a:extLst>
          </p:cNvPr>
          <p:cNvCxnSpPr>
            <a:cxnSpLocks/>
          </p:cNvCxnSpPr>
          <p:nvPr/>
        </p:nvCxnSpPr>
        <p:spPr bwMode="auto">
          <a:xfrm flipH="1">
            <a:off x="10056281" y="3543015"/>
            <a:ext cx="287869" cy="552735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5" name="Suora yhdysviiva 314">
            <a:extLst>
              <a:ext uri="{FF2B5EF4-FFF2-40B4-BE49-F238E27FC236}">
                <a16:creationId xmlns:a16="http://schemas.microsoft.com/office/drawing/2014/main" id="{B0BFBBE8-993F-02F9-5F45-04E517BB8E41}"/>
              </a:ext>
            </a:extLst>
          </p:cNvPr>
          <p:cNvCxnSpPr>
            <a:cxnSpLocks/>
          </p:cNvCxnSpPr>
          <p:nvPr/>
        </p:nvCxnSpPr>
        <p:spPr bwMode="auto">
          <a:xfrm>
            <a:off x="10059028" y="4099147"/>
            <a:ext cx="326411" cy="243502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8" name="Suora yhdysviiva 317">
            <a:extLst>
              <a:ext uri="{FF2B5EF4-FFF2-40B4-BE49-F238E27FC236}">
                <a16:creationId xmlns:a16="http://schemas.microsoft.com/office/drawing/2014/main" id="{63281EF5-C436-8C0B-1B19-07B0523DD138}"/>
              </a:ext>
            </a:extLst>
          </p:cNvPr>
          <p:cNvCxnSpPr>
            <a:cxnSpLocks/>
          </p:cNvCxnSpPr>
          <p:nvPr/>
        </p:nvCxnSpPr>
        <p:spPr bwMode="auto">
          <a:xfrm flipV="1">
            <a:off x="10384155" y="4038600"/>
            <a:ext cx="992827" cy="297941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4" name="Suora yhdysviiva 833">
            <a:extLst>
              <a:ext uri="{FF2B5EF4-FFF2-40B4-BE49-F238E27FC236}">
                <a16:creationId xmlns:a16="http://schemas.microsoft.com/office/drawing/2014/main" id="{930762BE-4204-C66D-0927-C31408DC58B3}"/>
              </a:ext>
            </a:extLst>
          </p:cNvPr>
          <p:cNvCxnSpPr>
            <a:cxnSpLocks/>
          </p:cNvCxnSpPr>
          <p:nvPr/>
        </p:nvCxnSpPr>
        <p:spPr bwMode="auto">
          <a:xfrm>
            <a:off x="10386060" y="4336541"/>
            <a:ext cx="992827" cy="210954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7" name="Suora yhdysviiva 836">
            <a:extLst>
              <a:ext uri="{FF2B5EF4-FFF2-40B4-BE49-F238E27FC236}">
                <a16:creationId xmlns:a16="http://schemas.microsoft.com/office/drawing/2014/main" id="{494D0C79-DFED-E575-7373-F8BC634BC2B3}"/>
              </a:ext>
            </a:extLst>
          </p:cNvPr>
          <p:cNvCxnSpPr>
            <a:cxnSpLocks/>
          </p:cNvCxnSpPr>
          <p:nvPr/>
        </p:nvCxnSpPr>
        <p:spPr bwMode="auto">
          <a:xfrm flipV="1">
            <a:off x="10382250" y="4290990"/>
            <a:ext cx="992827" cy="45551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rgbClr val="FF5C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40" name="Indiana Jones">
            <a:hlinkClick r:id="" action="ppaction://media"/>
            <a:extLst>
              <a:ext uri="{FF2B5EF4-FFF2-40B4-BE49-F238E27FC236}">
                <a16:creationId xmlns:a16="http://schemas.microsoft.com/office/drawing/2014/main" id="{41F71CEA-DEF3-35BD-3EB7-D964248B72E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end="211114.6938"/>
                </p14:media>
              </p:ext>
            </p:extLst>
          </p:nvPr>
        </p:nvPicPr>
        <p:blipFill>
          <a:blip r:embed="rId111"/>
          <a:stretch>
            <a:fillRect/>
          </a:stretch>
        </p:blipFill>
        <p:spPr>
          <a:xfrm>
            <a:off x="11984186" y="6612425"/>
            <a:ext cx="231293" cy="231293"/>
          </a:xfrm>
          <a:prstGeom prst="rect">
            <a:avLst/>
          </a:prstGeom>
        </p:spPr>
      </p:pic>
      <p:sp>
        <p:nvSpPr>
          <p:cNvPr id="841" name="Ellipsi 840">
            <a:extLst>
              <a:ext uri="{FF2B5EF4-FFF2-40B4-BE49-F238E27FC236}">
                <a16:creationId xmlns:a16="http://schemas.microsoft.com/office/drawing/2014/main" id="{83C774CE-8BA9-E41F-C332-DF8A1ADD530D}"/>
              </a:ext>
            </a:extLst>
          </p:cNvPr>
          <p:cNvSpPr/>
          <p:nvPr/>
        </p:nvSpPr>
        <p:spPr bwMode="auto">
          <a:xfrm>
            <a:off x="11326087" y="3977012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842" name="Ellipsi 841">
            <a:extLst>
              <a:ext uri="{FF2B5EF4-FFF2-40B4-BE49-F238E27FC236}">
                <a16:creationId xmlns:a16="http://schemas.microsoft.com/office/drawing/2014/main" id="{08FF9475-3EB8-E22B-A910-2D4A0C606A5B}"/>
              </a:ext>
            </a:extLst>
          </p:cNvPr>
          <p:cNvSpPr/>
          <p:nvPr/>
        </p:nvSpPr>
        <p:spPr bwMode="auto">
          <a:xfrm>
            <a:off x="11337617" y="4230718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843" name="Ellipsi 842">
            <a:extLst>
              <a:ext uri="{FF2B5EF4-FFF2-40B4-BE49-F238E27FC236}">
                <a16:creationId xmlns:a16="http://schemas.microsoft.com/office/drawing/2014/main" id="{28C23CDB-26E5-2F4A-45B8-718FCF42348F}"/>
              </a:ext>
            </a:extLst>
          </p:cNvPr>
          <p:cNvSpPr/>
          <p:nvPr/>
        </p:nvSpPr>
        <p:spPr bwMode="auto">
          <a:xfrm>
            <a:off x="11314424" y="4487203"/>
            <a:ext cx="108000" cy="108877"/>
          </a:xfrm>
          <a:prstGeom prst="ellipse">
            <a:avLst/>
          </a:prstGeom>
          <a:solidFill>
            <a:srgbClr val="FF5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fi-FI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grpSp>
        <p:nvGrpSpPr>
          <p:cNvPr id="853" name="Piggy Bank">
            <a:extLst>
              <a:ext uri="{FF2B5EF4-FFF2-40B4-BE49-F238E27FC236}">
                <a16:creationId xmlns:a16="http://schemas.microsoft.com/office/drawing/2014/main" id="{FFB174A2-8078-5DAC-AD02-74D0FD3D1334}"/>
              </a:ext>
            </a:extLst>
          </p:cNvPr>
          <p:cNvGrpSpPr/>
          <p:nvPr/>
        </p:nvGrpSpPr>
        <p:grpSpPr>
          <a:xfrm>
            <a:off x="4818210" y="3086196"/>
            <a:ext cx="1087624" cy="776299"/>
            <a:chOff x="4818210" y="3086196"/>
            <a:chExt cx="1087624" cy="776299"/>
          </a:xfrm>
        </p:grpSpPr>
        <p:grpSp>
          <p:nvGrpSpPr>
            <p:cNvPr id="83" name="Ryhmä 82">
              <a:extLst>
                <a:ext uri="{FF2B5EF4-FFF2-40B4-BE49-F238E27FC236}">
                  <a16:creationId xmlns:a16="http://schemas.microsoft.com/office/drawing/2014/main" id="{063DC606-9CE4-38BC-B207-BB9C053A5516}"/>
                </a:ext>
              </a:extLst>
            </p:cNvPr>
            <p:cNvGrpSpPr/>
            <p:nvPr/>
          </p:nvGrpSpPr>
          <p:grpSpPr>
            <a:xfrm>
              <a:off x="4818210" y="3086196"/>
              <a:ext cx="1087624" cy="776299"/>
              <a:chOff x="4510800" y="1768442"/>
              <a:chExt cx="1087624" cy="776299"/>
            </a:xfrm>
            <a:solidFill>
              <a:schemeClr val="accent1"/>
            </a:solidFill>
          </p:grpSpPr>
          <p:pic>
            <p:nvPicPr>
              <p:cNvPr id="80" name="Kuva 79" descr="Säästöpossu tasaisella täytöllä">
                <a:extLst>
                  <a:ext uri="{FF2B5EF4-FFF2-40B4-BE49-F238E27FC236}">
                    <a16:creationId xmlns:a16="http://schemas.microsoft.com/office/drawing/2014/main" id="{C9E52936-AFED-1802-3D65-E5CDE106C6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2">
                <a:extLst>
                  <a:ext uri="{96DAC541-7B7A-43D3-8B79-37D633B846F1}">
                    <asvg:svgBlip xmlns:asvg="http://schemas.microsoft.com/office/drawing/2016/SVG/main" r:embed="rId113"/>
                  </a:ext>
                </a:extLst>
              </a:blip>
              <a:srcRect t="15180" b="13445"/>
              <a:stretch/>
            </p:blipFill>
            <p:spPr>
              <a:xfrm>
                <a:off x="4510800" y="1768442"/>
                <a:ext cx="1087624" cy="776299"/>
              </a:xfrm>
              <a:prstGeom prst="rect">
                <a:avLst/>
              </a:prstGeom>
            </p:spPr>
          </p:pic>
          <p:pic>
            <p:nvPicPr>
              <p:cNvPr id="82" name="Picture 6">
                <a:extLst>
                  <a:ext uri="{FF2B5EF4-FFF2-40B4-BE49-F238E27FC236}">
                    <a16:creationId xmlns:a16="http://schemas.microsoft.com/office/drawing/2014/main" id="{B1A2DEB4-C4FF-FED2-5C94-B9198F3577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0"/>
              <a:stretch>
                <a:fillRect/>
              </a:stretch>
            </p:blipFill>
            <p:spPr>
              <a:xfrm>
                <a:off x="4797616" y="1996732"/>
                <a:ext cx="416601" cy="39577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852" name="Kuva 851" descr="Kuva, joka sisältää kohteen musta, pimeys&#10;&#10;Kuvaus luotu automaattisesti">
              <a:extLst>
                <a:ext uri="{FF2B5EF4-FFF2-40B4-BE49-F238E27FC236}">
                  <a16:creationId xmlns:a16="http://schemas.microsoft.com/office/drawing/2014/main" id="{95DB21B8-C2A9-7C48-2FE2-0B1B67DB8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13117" y="3321981"/>
              <a:ext cx="399814" cy="37826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61" name="LION DONORS">
            <a:extLst>
              <a:ext uri="{FF2B5EF4-FFF2-40B4-BE49-F238E27FC236}">
                <a16:creationId xmlns:a16="http://schemas.microsoft.com/office/drawing/2014/main" id="{57E49494-FA97-D275-8CFC-2D17FB7DA1F2}"/>
              </a:ext>
            </a:extLst>
          </p:cNvPr>
          <p:cNvGrpSpPr/>
          <p:nvPr/>
        </p:nvGrpSpPr>
        <p:grpSpPr>
          <a:xfrm>
            <a:off x="4547983" y="1546947"/>
            <a:ext cx="1841652" cy="914400"/>
            <a:chOff x="4547983" y="1546947"/>
            <a:chExt cx="1841652" cy="914400"/>
          </a:xfrm>
        </p:grpSpPr>
        <p:grpSp>
          <p:nvGrpSpPr>
            <p:cNvPr id="113" name="DONORS">
              <a:extLst>
                <a:ext uri="{FF2B5EF4-FFF2-40B4-BE49-F238E27FC236}">
                  <a16:creationId xmlns:a16="http://schemas.microsoft.com/office/drawing/2014/main" id="{6C11032E-0290-D9C0-CF1E-8960D9C3F69C}"/>
                </a:ext>
              </a:extLst>
            </p:cNvPr>
            <p:cNvGrpSpPr/>
            <p:nvPr/>
          </p:nvGrpSpPr>
          <p:grpSpPr>
            <a:xfrm>
              <a:off x="4547983" y="1546947"/>
              <a:ext cx="1841652" cy="914400"/>
              <a:chOff x="856437" y="1756920"/>
              <a:chExt cx="1841652" cy="914400"/>
            </a:xfrm>
          </p:grpSpPr>
          <p:pic>
            <p:nvPicPr>
              <p:cNvPr id="77" name="Kuva 76" descr="Toimisto työntekijä nainen tasaisella täytöllä">
                <a:extLst>
                  <a:ext uri="{FF2B5EF4-FFF2-40B4-BE49-F238E27FC236}">
                    <a16:creationId xmlns:a16="http://schemas.microsoft.com/office/drawing/2014/main" id="{923A23F7-8D47-3ABC-69BD-3A74963831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5">
                <a:extLst>
                  <a:ext uri="{96DAC541-7B7A-43D3-8B79-37D633B846F1}">
                    <asvg:svgBlip xmlns:asvg="http://schemas.microsoft.com/office/drawing/2016/SVG/main" r:embed="rId116"/>
                  </a:ext>
                </a:extLst>
              </a:blip>
              <a:stretch>
                <a:fillRect/>
              </a:stretch>
            </p:blipFill>
            <p:spPr>
              <a:xfrm>
                <a:off x="856437" y="1819152"/>
                <a:ext cx="789936" cy="789936"/>
              </a:xfrm>
              <a:prstGeom prst="rect">
                <a:avLst/>
              </a:prstGeom>
            </p:spPr>
          </p:pic>
          <p:pic>
            <p:nvPicPr>
              <p:cNvPr id="78" name="Kuva 77" descr="Koulupoika tasaisella täytöllä">
                <a:extLst>
                  <a:ext uri="{FF2B5EF4-FFF2-40B4-BE49-F238E27FC236}">
                    <a16:creationId xmlns:a16="http://schemas.microsoft.com/office/drawing/2014/main" id="{E4E2BE8F-11B1-32A0-8DE0-DB73506334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7">
                <a:extLst>
                  <a:ext uri="{96DAC541-7B7A-43D3-8B79-37D633B846F1}">
                    <asvg:svgBlip xmlns:asvg="http://schemas.microsoft.com/office/drawing/2016/SVG/main" r:embed="rId118"/>
                  </a:ext>
                </a:extLst>
              </a:blip>
              <a:stretch>
                <a:fillRect/>
              </a:stretch>
            </p:blipFill>
            <p:spPr>
              <a:xfrm>
                <a:off x="1783689" y="1756920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859" name="Ryhmä 858">
              <a:extLst>
                <a:ext uri="{FF2B5EF4-FFF2-40B4-BE49-F238E27FC236}">
                  <a16:creationId xmlns:a16="http://schemas.microsoft.com/office/drawing/2014/main" id="{35343BE0-0F82-FA50-1A7D-C92892544C66}"/>
                </a:ext>
              </a:extLst>
            </p:cNvPr>
            <p:cNvGrpSpPr/>
            <p:nvPr/>
          </p:nvGrpSpPr>
          <p:grpSpPr>
            <a:xfrm>
              <a:off x="5128091" y="1695384"/>
              <a:ext cx="647484" cy="647484"/>
              <a:chOff x="-1461575" y="-561794"/>
              <a:chExt cx="914400" cy="914400"/>
            </a:xfrm>
          </p:grpSpPr>
          <p:pic>
            <p:nvPicPr>
              <p:cNvPr id="856" name="Kuva 855" descr="Maapallo tasaisella täytöllä">
                <a:extLst>
                  <a:ext uri="{FF2B5EF4-FFF2-40B4-BE49-F238E27FC236}">
                    <a16:creationId xmlns:a16="http://schemas.microsoft.com/office/drawing/2014/main" id="{8858A39B-FFBB-E207-652D-31D533EC78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9">
                <a:extLst>
                  <a:ext uri="{96DAC541-7B7A-43D3-8B79-37D633B846F1}">
                    <asvg:svgBlip xmlns:asvg="http://schemas.microsoft.com/office/drawing/2016/SVG/main" r:embed="rId120"/>
                  </a:ext>
                </a:extLst>
              </a:blip>
              <a:stretch>
                <a:fillRect/>
              </a:stretch>
            </p:blipFill>
            <p:spPr>
              <a:xfrm>
                <a:off x="-1461575" y="-561794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858" name="Kuva 857" descr="Maapallo: Afrikka ja Eurooppa tasaisella täytöllä">
                <a:extLst>
                  <a:ext uri="{FF2B5EF4-FFF2-40B4-BE49-F238E27FC236}">
                    <a16:creationId xmlns:a16="http://schemas.microsoft.com/office/drawing/2014/main" id="{A6FB8CA3-74BD-1F45-D31C-095523B283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1">
                <a:extLst>
                  <a:ext uri="{96DAC541-7B7A-43D3-8B79-37D633B846F1}">
                    <asvg:svgBlip xmlns:asvg="http://schemas.microsoft.com/office/drawing/2016/SVG/main" r:embed="rId122"/>
                  </a:ext>
                </a:extLst>
              </a:blip>
              <a:stretch>
                <a:fillRect/>
              </a:stretch>
            </p:blipFill>
            <p:spPr>
              <a:xfrm rot="1052838">
                <a:off x="-1429191" y="-552633"/>
                <a:ext cx="777600" cy="777600"/>
              </a:xfrm>
              <a:prstGeom prst="rect">
                <a:avLst/>
              </a:prstGeom>
            </p:spPr>
          </p:pic>
        </p:grpSp>
      </p:grpSp>
      <p:pic>
        <p:nvPicPr>
          <p:cNvPr id="63" name="Kuva 62">
            <a:extLst>
              <a:ext uri="{FF2B5EF4-FFF2-40B4-BE49-F238E27FC236}">
                <a16:creationId xmlns:a16="http://schemas.microsoft.com/office/drawing/2014/main" id="{268B65F5-E904-0FC6-306A-086EDF25D0C9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5296" y="3710257"/>
            <a:ext cx="488516" cy="548091"/>
          </a:xfrm>
          <a:prstGeom prst="rect">
            <a:avLst/>
          </a:prstGeom>
        </p:spPr>
      </p:pic>
      <p:pic>
        <p:nvPicPr>
          <p:cNvPr id="65" name="Kuva 64">
            <a:extLst>
              <a:ext uri="{FF2B5EF4-FFF2-40B4-BE49-F238E27FC236}">
                <a16:creationId xmlns:a16="http://schemas.microsoft.com/office/drawing/2014/main" id="{7E8ED1AF-27F9-514C-AA88-5648B1F83D32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3905" y="3850233"/>
            <a:ext cx="488516" cy="548091"/>
          </a:xfrm>
          <a:prstGeom prst="rect">
            <a:avLst/>
          </a:prstGeom>
        </p:spPr>
      </p:pic>
      <p:pic>
        <p:nvPicPr>
          <p:cNvPr id="67" name="Kuva 66">
            <a:extLst>
              <a:ext uri="{FF2B5EF4-FFF2-40B4-BE49-F238E27FC236}">
                <a16:creationId xmlns:a16="http://schemas.microsoft.com/office/drawing/2014/main" id="{B325BCB7-8CC2-AC8F-CF37-BE659B7D565B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2588" y="4130532"/>
            <a:ext cx="488516" cy="548091"/>
          </a:xfrm>
          <a:prstGeom prst="rect">
            <a:avLst/>
          </a:prstGeom>
        </p:spPr>
      </p:pic>
      <p:pic>
        <p:nvPicPr>
          <p:cNvPr id="69" name="Kuva 68">
            <a:extLst>
              <a:ext uri="{FF2B5EF4-FFF2-40B4-BE49-F238E27FC236}">
                <a16:creationId xmlns:a16="http://schemas.microsoft.com/office/drawing/2014/main" id="{5746BEBB-C778-56D0-B480-D9A68E3F6E97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0207" y="3983988"/>
            <a:ext cx="488516" cy="548091"/>
          </a:xfrm>
          <a:prstGeom prst="rect">
            <a:avLst/>
          </a:prstGeom>
        </p:spPr>
      </p:pic>
      <p:pic>
        <p:nvPicPr>
          <p:cNvPr id="72" name="Kuva 71">
            <a:extLst>
              <a:ext uri="{FF2B5EF4-FFF2-40B4-BE49-F238E27FC236}">
                <a16:creationId xmlns:a16="http://schemas.microsoft.com/office/drawing/2014/main" id="{6B279B20-C9CC-AC54-4110-4908E11039CC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1197" y="3991696"/>
            <a:ext cx="488516" cy="548091"/>
          </a:xfrm>
          <a:prstGeom prst="rect">
            <a:avLst/>
          </a:prstGeom>
        </p:spPr>
      </p:pic>
      <p:pic>
        <p:nvPicPr>
          <p:cNvPr id="73" name="Kuva 72">
            <a:extLst>
              <a:ext uri="{FF2B5EF4-FFF2-40B4-BE49-F238E27FC236}">
                <a16:creationId xmlns:a16="http://schemas.microsoft.com/office/drawing/2014/main" id="{CCF680CA-3F03-7279-827C-C1ED291154C8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2061" y="4167972"/>
            <a:ext cx="488516" cy="548091"/>
          </a:xfrm>
          <a:prstGeom prst="rect">
            <a:avLst/>
          </a:prstGeom>
        </p:spPr>
      </p:pic>
      <p:pic>
        <p:nvPicPr>
          <p:cNvPr id="75" name="Kuva 74">
            <a:extLst>
              <a:ext uri="{FF2B5EF4-FFF2-40B4-BE49-F238E27FC236}">
                <a16:creationId xmlns:a16="http://schemas.microsoft.com/office/drawing/2014/main" id="{15B23230-7364-97E3-AA5E-18FFE689C1F5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879" y="4395113"/>
            <a:ext cx="488516" cy="548091"/>
          </a:xfrm>
          <a:prstGeom prst="rect">
            <a:avLst/>
          </a:prstGeom>
        </p:spPr>
      </p:pic>
      <p:grpSp>
        <p:nvGrpSpPr>
          <p:cNvPr id="294" name="Truck (small)">
            <a:extLst>
              <a:ext uri="{FF2B5EF4-FFF2-40B4-BE49-F238E27FC236}">
                <a16:creationId xmlns:a16="http://schemas.microsoft.com/office/drawing/2014/main" id="{2C6AB0CB-D351-ABD9-065A-9431A76E2CB2}"/>
              </a:ext>
            </a:extLst>
          </p:cNvPr>
          <p:cNvGrpSpPr/>
          <p:nvPr/>
        </p:nvGrpSpPr>
        <p:grpSpPr>
          <a:xfrm>
            <a:off x="9753600" y="1927794"/>
            <a:ext cx="434990" cy="267338"/>
            <a:chOff x="4757016" y="5726250"/>
            <a:chExt cx="1338984" cy="822919"/>
          </a:xfrm>
        </p:grpSpPr>
        <p:pic>
          <p:nvPicPr>
            <p:cNvPr id="295" name="Kuva 294" descr="Kuorma-auto tasaisella täytöllä">
              <a:extLst>
                <a:ext uri="{FF2B5EF4-FFF2-40B4-BE49-F238E27FC236}">
                  <a16:creationId xmlns:a16="http://schemas.microsoft.com/office/drawing/2014/main" id="{BCA26579-6814-242F-0B5C-F3DDE00EE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8">
              <a:extLst>
                <a:ext uri="{96DAC541-7B7A-43D3-8B79-37D633B846F1}">
                  <asvg:svgBlip xmlns:asvg="http://schemas.microsoft.com/office/drawing/2016/SVG/main" r:embed="rId109"/>
                </a:ext>
              </a:extLst>
            </a:blip>
            <a:srcRect t="18780" b="19762"/>
            <a:stretch/>
          </p:blipFill>
          <p:spPr>
            <a:xfrm>
              <a:off x="4757016" y="5726250"/>
              <a:ext cx="1338984" cy="822919"/>
            </a:xfrm>
            <a:prstGeom prst="rect">
              <a:avLst/>
            </a:prstGeom>
          </p:spPr>
        </p:pic>
        <p:pic>
          <p:nvPicPr>
            <p:cNvPr id="296" name="Picture 6">
              <a:extLst>
                <a:ext uri="{FF2B5EF4-FFF2-40B4-BE49-F238E27FC236}">
                  <a16:creationId xmlns:a16="http://schemas.microsoft.com/office/drawing/2014/main" id="{9100AB54-7F86-DD1D-88E7-EE6797BEF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0"/>
            <a:stretch>
              <a:fillRect/>
            </a:stretch>
          </p:blipFill>
          <p:spPr>
            <a:xfrm>
              <a:off x="5029200" y="5817843"/>
              <a:ext cx="336032" cy="319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2296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1000"/>
                                        <p:tgtEl>
                                          <p:spTgt spid="8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1000"/>
                                        <p:tgtEl>
                                          <p:spTgt spid="8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8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26 -0.00023 L -0.00326 -2.96296E-6 C -0.00391 0.00625 -0.0043 0.00973 -0.00456 0.01598 C -0.00547 0.05232 -0.00378 0.00348 -0.00495 0.0456 C -0.00508 0.04746 -0.00495 0.04931 -0.00508 0.05116 C -0.00573 0.05741 -0.00638 0.06273 -0.00716 0.06875 C -0.00755 0.07338 -0.00768 0.07477 -0.00768 0.07917 C -0.00794 0.08843 -0.00768 0.0838 -0.00807 0.08889 C -0.00794 0.09329 -0.00807 0.09653 -0.00755 0.1007 C -0.00729 0.10162 -0.00716 0.10255 -0.00703 0.10348 C -0.00664 0.10764 -0.0069 0.10463 -0.00599 0.11088 C -0.0056 0.11366 -0.0056 0.11412 -0.00482 0.11783 C -0.00456 0.11922 -0.00404 0.12084 -0.00391 0.12246 C -0.00378 0.12338 -0.00365 0.12454 -0.00352 0.12547 C -0.00352 0.12593 -0.00352 0.12639 -0.00339 0.12662 C -0.00326 0.12709 -0.00274 0.12709 -0.00248 0.12755 C -0.00169 0.12848 -0.00104 0.1294 -0.00013 0.13056 C 0.0026 0.13473 0.00325 0.13611 0.00703 0.14051 C 0.00898 0.1426 0.01081 0.14422 0.01263 0.1463 C 0.01393 0.14769 0.01497 0.14931 0.01614 0.1507 C 0.02995 0.16667 0.0151 0.14861 0.0263 0.16273 C 0.02656 0.1632 0.02995 0.16713 0.03008 0.16736 C 0.03333 0.17385 0.03542 0.17709 0.03789 0.1838 C 0.03854 0.18611 0.03932 0.18843 0.03997 0.19074 C 0.04023 0.19236 0.04114 0.19746 0.04101 0.19931 C 0.04101 0.20301 0.04075 0.20672 0.04049 0.21042 C 0.04036 0.21135 0.0401 0.21227 0.03997 0.21297 C 0.03984 0.21435 0.03958 0.21574 0.03932 0.21713 C 0.03919 0.21806 0.03893 0.21968 0.03893 0.21991 L 0.03815 0.22084 C 0.03281 0.23241 0.03242 0.23496 0.02669 0.24283 C 0.02239 0.24861 0.01953 0.25139 0.01445 0.25625 C 0.01315 0.25764 0.01198 0.2588 0.01068 0.25996 C 0.00677 0.2632 0.0026 0.26598 -0.00104 0.26991 L -0.00664 0.27616 C -0.01055 0.28449 -0.01159 0.28565 -0.01393 0.29769 C -0.01432 0.30023 -0.01419 0.30278 -0.01419 0.30533 C -0.01419 0.30672 -0.01432 0.30834 -0.01406 0.30973 C -0.01354 0.31181 -0.00886 0.32037 -0.00873 0.3206 C -0.00091 0.33148 0.00065 0.33195 0.01081 0.33658 C 0.0138 0.33797 0.01667 0.33889 0.01966 0.33959 L 0.02161 0.34028 L 0.02643 0.34121 L 0.02643 0.34144 " pathEditMode="relative" rAng="0" ptsTypes="AAAAAAAAAAAAAAAAAAAAAAAAAAAAAAAAAAAAAAAAAAAA">
                                      <p:cBhvr>
                                        <p:cTn id="59" dur="19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54" y="1708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1" dur="30100" fill="hold"/>
                                        <p:tgtEl>
                                          <p:spTgt spid="84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5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250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1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2500"/>
                                        <p:tgtEl>
                                          <p:spTgt spid="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7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500"/>
                                        <p:tgtEl>
                                          <p:spTgt spid="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1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9" dur="2500"/>
                                        <p:tgtEl>
                                          <p:spTgt spid="3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2500"/>
                                        <p:tgtEl>
                                          <p:spTgt spid="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14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5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nodeType="withEffect">
                                  <p:stCondLst>
                                    <p:cond delay="17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30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nodeType="withEffect">
                                  <p:stCondLst>
                                    <p:cond delay="17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3000"/>
                                        <p:tgtEl>
                                          <p:spTgt spid="8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17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3000"/>
                                        <p:tgtEl>
                                          <p:spTgt spid="8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500"/>
                                        <p:tgtEl>
                                          <p:spTgt spid="8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500"/>
                                        <p:tgtEl>
                                          <p:spTgt spid="8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500"/>
                                        <p:tgtEl>
                                          <p:spTgt spid="8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8" presetClass="entr" presetSubtype="32" fill="hold" nodeType="withEffect">
                                  <p:stCondLst>
                                    <p:cond delay="230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09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8" presetClass="entr" presetSubtype="32" fill="hold" nodeType="withEffect">
                                  <p:stCondLst>
                                    <p:cond delay="250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12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8" presetClass="entr" presetSubtype="32" fill="hold" nodeType="withEffect">
                                  <p:stCondLst>
                                    <p:cond delay="25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15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8" presetClass="entr" presetSubtype="32" fill="hold" nodeType="with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18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8" presetClass="entr" presetSubtype="32" fill="hold" nodeType="with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21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8" presetClass="entr" presetSubtype="32" fill="hold" nodeType="with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24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8" presetClass="entr" presetSubtype="32" fill="hold" nodeType="with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27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2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40"/>
                </p:tgtEl>
              </p:cMediaNode>
            </p:audio>
          </p:childTnLst>
        </p:cTn>
      </p:par>
    </p:tnLst>
    <p:bldLst>
      <p:bldP spid="297" grpId="0" animBg="1"/>
      <p:bldP spid="300" grpId="0" animBg="1"/>
      <p:bldP spid="306" grpId="0" animBg="1"/>
      <p:bldP spid="307" grpId="0" animBg="1"/>
      <p:bldP spid="308" grpId="0" animBg="1"/>
      <p:bldP spid="841" grpId="0" animBg="1"/>
      <p:bldP spid="842" grpId="0" animBg="1"/>
      <p:bldP spid="84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1173687-E3E9-4AF2-2E09-DF3ECC78BF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173687-E3E9-4AF2-2E09-DF3ECC78B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B8B34CB-E24E-2EFF-E874-E07445C7EC41}"/>
              </a:ext>
            </a:extLst>
          </p:cNvPr>
          <p:cNvSpPr/>
          <p:nvPr/>
        </p:nvSpPr>
        <p:spPr>
          <a:xfrm>
            <a:off x="3863265" y="8855"/>
            <a:ext cx="8329304" cy="6858000"/>
          </a:xfrm>
          <a:prstGeom prst="rect">
            <a:avLst/>
          </a:prstGeom>
          <a:gradFill flip="none" rotWithShape="1">
            <a:gsLst>
              <a:gs pos="0">
                <a:srgbClr val="7A2582">
                  <a:alpha val="67000"/>
                </a:srgbClr>
              </a:gs>
              <a:gs pos="98000">
                <a:srgbClr val="00338D">
                  <a:alpha val="67000"/>
                </a:srgbClr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  <a:latin typeface="Open Sans Regular" charset="0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1815F35B-2805-999B-C4BE-59DBB32FE162}"/>
              </a:ext>
            </a:extLst>
          </p:cNvPr>
          <p:cNvSpPr/>
          <p:nvPr/>
        </p:nvSpPr>
        <p:spPr>
          <a:xfrm>
            <a:off x="-4176" y="-5444"/>
            <a:ext cx="10062576" cy="6869151"/>
          </a:xfrm>
          <a:custGeom>
            <a:avLst/>
            <a:gdLst>
              <a:gd name="connsiteX0" fmla="*/ 0 w 10042071"/>
              <a:gd name="connsiteY0" fmla="*/ 0 h 6858000"/>
              <a:gd name="connsiteX1" fmla="*/ 9724590 w 10042071"/>
              <a:gd name="connsiteY1" fmla="*/ 0 h 6858000"/>
              <a:gd name="connsiteX2" fmla="*/ 9724590 w 10042071"/>
              <a:gd name="connsiteY2" fmla="*/ 1 h 6858000"/>
              <a:gd name="connsiteX3" fmla="*/ 10042071 w 10042071"/>
              <a:gd name="connsiteY3" fmla="*/ 1 h 6858000"/>
              <a:gd name="connsiteX4" fmla="*/ 6082601 w 10042071"/>
              <a:gd name="connsiteY4" fmla="*/ 6858000 h 6858000"/>
              <a:gd name="connsiteX5" fmla="*/ 0 w 10042071"/>
              <a:gd name="connsiteY5" fmla="*/ 6858000 h 6858000"/>
              <a:gd name="connsiteX6" fmla="*/ 0 w 10042071"/>
              <a:gd name="connsiteY6" fmla="*/ 6623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2071" h="6858000">
                <a:moveTo>
                  <a:pt x="0" y="0"/>
                </a:moveTo>
                <a:lnTo>
                  <a:pt x="9724590" y="0"/>
                </a:lnTo>
                <a:lnTo>
                  <a:pt x="9724590" y="1"/>
                </a:lnTo>
                <a:lnTo>
                  <a:pt x="10042071" y="1"/>
                </a:lnTo>
                <a:lnTo>
                  <a:pt x="6082601" y="6858000"/>
                </a:lnTo>
                <a:lnTo>
                  <a:pt x="0" y="6858000"/>
                </a:lnTo>
                <a:lnTo>
                  <a:pt x="0" y="6623921"/>
                </a:lnTo>
                <a:close/>
              </a:path>
            </a:pathLst>
          </a:cu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  <a:latin typeface="Open Sans Regular" charset="0"/>
            </a:endParaRPr>
          </a:p>
        </p:txBody>
      </p:sp>
      <p:sp>
        <p:nvSpPr>
          <p:cNvPr id="2" name="Body Copy">
            <a:extLst>
              <a:ext uri="{FF2B5EF4-FFF2-40B4-BE49-F238E27FC236}">
                <a16:creationId xmlns:a16="http://schemas.microsoft.com/office/drawing/2014/main" id="{1A6B617C-E9CA-443C-30EF-EA8AC32557DE}"/>
              </a:ext>
            </a:extLst>
          </p:cNvPr>
          <p:cNvSpPr txBox="1">
            <a:spLocks/>
          </p:cNvSpPr>
          <p:nvPr/>
        </p:nvSpPr>
        <p:spPr>
          <a:xfrm>
            <a:off x="688602" y="2369468"/>
            <a:ext cx="7998198" cy="389739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spcBef>
                <a:spcPts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Material purchase of 24 tons of steel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(900 stoves = 1 truck load)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800" kern="0" dirty="0">
                <a:solidFill>
                  <a:schemeClr val="bg1"/>
                </a:solidFill>
                <a:latin typeface="Arial"/>
                <a:ea typeface="Arial" charset="0"/>
                <a:cs typeface="Arial"/>
              </a:rPr>
              <a:t>Production capacity of 600 per week</a:t>
            </a:r>
            <a:endParaRPr kumimoji="0" lang="en-US" sz="1800" b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Arial" charset="0"/>
              <a:cs typeface="Arial"/>
            </a:endParaRP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800" kern="0" dirty="0">
                <a:solidFill>
                  <a:schemeClr val="bg1"/>
                </a:solidFill>
                <a:latin typeface="Arial"/>
                <a:ea typeface="Arial" charset="0"/>
                <a:cs typeface="Arial"/>
              </a:rPr>
              <a:t>Laser cutting the part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Bending &amp; </a:t>
            </a:r>
            <a:r>
              <a:rPr lang="en-US" sz="1800" kern="0" dirty="0">
                <a:solidFill>
                  <a:schemeClr val="bg1"/>
                </a:solidFill>
                <a:latin typeface="Arial"/>
                <a:ea typeface="Arial" charset="0"/>
                <a:cs typeface="Arial"/>
              </a:rPr>
              <a:t>Welding 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Packaging &amp; </a:t>
            </a:r>
            <a:r>
              <a:rPr lang="en-US" sz="1800" kern="0" dirty="0">
                <a:solidFill>
                  <a:schemeClr val="bg1"/>
                </a:solidFill>
                <a:latin typeface="Arial"/>
                <a:ea typeface="Arial" charset="0"/>
                <a:cs typeface="Arial"/>
              </a:rPr>
              <a:t>Shipping</a:t>
            </a:r>
          </a:p>
        </p:txBody>
      </p:sp>
      <p:sp>
        <p:nvSpPr>
          <p:cNvPr id="3" name="Body Copy">
            <a:extLst>
              <a:ext uri="{FF2B5EF4-FFF2-40B4-BE49-F238E27FC236}">
                <a16:creationId xmlns:a16="http://schemas.microsoft.com/office/drawing/2014/main" id="{DFDAF788-F9DB-E80B-B1BD-89976C4D3640}"/>
              </a:ext>
            </a:extLst>
          </p:cNvPr>
          <p:cNvSpPr txBox="1">
            <a:spLocks/>
          </p:cNvSpPr>
          <p:nvPr/>
        </p:nvSpPr>
        <p:spPr>
          <a:xfrm>
            <a:off x="688602" y="762000"/>
            <a:ext cx="7921998" cy="101320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/>
              <a:defRPr/>
            </a:pPr>
            <a:r>
              <a:rPr lang="en-US" sz="6600" b="1" kern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Creation of Stoves</a:t>
            </a:r>
            <a:endParaRPr kumimoji="0" lang="en-US" sz="6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0F2AE7-7726-E252-DC9B-BB98CB81A352}"/>
              </a:ext>
            </a:extLst>
          </p:cNvPr>
          <p:cNvSpPr/>
          <p:nvPr/>
        </p:nvSpPr>
        <p:spPr>
          <a:xfrm rot="5400000" flipH="1">
            <a:off x="2896952" y="-137474"/>
            <a:ext cx="70852" cy="4227280"/>
          </a:xfrm>
          <a:prstGeom prst="rect">
            <a:avLst/>
          </a:prstGeom>
          <a:solidFill>
            <a:srgbClr val="EBB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BB700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Page Number - White">
            <a:extLst>
              <a:ext uri="{FF2B5EF4-FFF2-40B4-BE49-F238E27FC236}">
                <a16:creationId xmlns:a16="http://schemas.microsoft.com/office/drawing/2014/main" id="{39CE25E7-15E1-2DE5-20F6-ACECF769E7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7" y="6400726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1962F-67D4-FD44-86D5-55EBF96E0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</a:rPr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AA158AC3-7165-2ED4-4DE0-4F1FDCEC83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4456915" y="3744815"/>
            <a:ext cx="1423948" cy="81003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id="{B5CD489C-4DE6-222D-C6FF-B15A5748F9D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145" y="5088705"/>
            <a:ext cx="1424175" cy="143906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3" name="Kuva 12" descr="Kuva, joka sisältää kohteen sisä-, kone, insinööritieteet, Paja&#10;&#10;Kuvaus luotu automaattisesti">
            <a:extLst>
              <a:ext uri="{FF2B5EF4-FFF2-40B4-BE49-F238E27FC236}">
                <a16:creationId xmlns:a16="http://schemas.microsoft.com/office/drawing/2014/main" id="{C34B1E88-EE18-11F4-38F6-EE5CC6A6770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6115" y="5094544"/>
            <a:ext cx="2006213" cy="144439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4" name="Kuva 13" descr="Kuva, joka sisältää kohteen laser, vihreä, sisä-, valo&#10;&#10;Kuvaus luotu automaattisesti">
            <a:extLst>
              <a:ext uri="{FF2B5EF4-FFF2-40B4-BE49-F238E27FC236}">
                <a16:creationId xmlns:a16="http://schemas.microsoft.com/office/drawing/2014/main" id="{F1EBE87F-C424-AA96-2E0E-08D89CD5095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0501" y="3422737"/>
            <a:ext cx="876077" cy="143906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5" name="Kuva 14" descr="Kuva, joka sisältää kohteen vaate, jalkineet, henkilö, sisä-&#10;&#10;Kuvaus luotu automaattisesti">
            <a:extLst>
              <a:ext uri="{FF2B5EF4-FFF2-40B4-BE49-F238E27FC236}">
                <a16:creationId xmlns:a16="http://schemas.microsoft.com/office/drawing/2014/main" id="{B7370523-1673-A63B-EDAA-0606B3864ADC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0" y="3437855"/>
            <a:ext cx="1071953" cy="142927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7" name="Kuva 16" descr="Kuva, joka sisältää kohteen taivas, piha-, pilvi, puu&#10;&#10;Kuvaus luotu automaattisesti">
            <a:extLst>
              <a:ext uri="{FF2B5EF4-FFF2-40B4-BE49-F238E27FC236}">
                <a16:creationId xmlns:a16="http://schemas.microsoft.com/office/drawing/2014/main" id="{1C2BD87D-53B9-0C81-E99E-76875A4E192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1183" y="5094863"/>
            <a:ext cx="1738601" cy="144439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8" name="Graphic 6">
            <a:extLst>
              <a:ext uri="{FF2B5EF4-FFF2-40B4-BE49-F238E27FC236}">
                <a16:creationId xmlns:a16="http://schemas.microsoft.com/office/drawing/2014/main" id="{2327E3F2-CEEA-9BD1-68BE-065084EFA94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90303" y="4363406"/>
            <a:ext cx="25146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67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18A9C63-D121-63F0-EE76-56DB7050E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A9C63-D121-63F0-EE76-56DB7050E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piha-, vaate, teksti, jalkineet&#10;&#10;Kuvaus luotu automaattisesti">
            <a:extLst>
              <a:ext uri="{FF2B5EF4-FFF2-40B4-BE49-F238E27FC236}">
                <a16:creationId xmlns:a16="http://schemas.microsoft.com/office/drawing/2014/main" id="{301EACDD-938C-DB3E-A5BF-FC5BCBD368F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4726" y="-975235"/>
            <a:ext cx="6103526" cy="8138035"/>
          </a:xfrm>
          <a:prstGeom prst="rect">
            <a:avLst/>
          </a:prstGeom>
        </p:spPr>
      </p:pic>
      <p:sp>
        <p:nvSpPr>
          <p:cNvPr id="10" name="Freeform 9">
            <a:extLst>
              <a:ext uri="{FF2B5EF4-FFF2-40B4-BE49-F238E27FC236}">
                <a16:creationId xmlns:a16="http://schemas.microsoft.com/office/drawing/2014/main" id="{75DBCB89-8A64-6830-88A7-AF4F18431EED}"/>
              </a:ext>
            </a:extLst>
          </p:cNvPr>
          <p:cNvSpPr/>
          <p:nvPr/>
        </p:nvSpPr>
        <p:spPr>
          <a:xfrm>
            <a:off x="1574045" y="736"/>
            <a:ext cx="10617955" cy="6868150"/>
          </a:xfrm>
          <a:custGeom>
            <a:avLst/>
            <a:gdLst>
              <a:gd name="connsiteX0" fmla="*/ 3959471 w 10602263"/>
              <a:gd name="connsiteY0" fmla="*/ 0 h 6858000"/>
              <a:gd name="connsiteX1" fmla="*/ 6858000 w 10602263"/>
              <a:gd name="connsiteY1" fmla="*/ 0 h 6858000"/>
              <a:gd name="connsiteX2" fmla="*/ 6858000 w 10602263"/>
              <a:gd name="connsiteY2" fmla="*/ 0 h 6858000"/>
              <a:gd name="connsiteX3" fmla="*/ 7703734 w 10602263"/>
              <a:gd name="connsiteY3" fmla="*/ 0 h 6858000"/>
              <a:gd name="connsiteX4" fmla="*/ 8396868 w 10602263"/>
              <a:gd name="connsiteY4" fmla="*/ 0 h 6858000"/>
              <a:gd name="connsiteX5" fmla="*/ 10602263 w 10602263"/>
              <a:gd name="connsiteY5" fmla="*/ 0 h 6858000"/>
              <a:gd name="connsiteX6" fmla="*/ 10602263 w 10602263"/>
              <a:gd name="connsiteY6" fmla="*/ 6858000 h 6858000"/>
              <a:gd name="connsiteX7" fmla="*/ 8396868 w 10602263"/>
              <a:gd name="connsiteY7" fmla="*/ 6858000 h 6858000"/>
              <a:gd name="connsiteX8" fmla="*/ 6858000 w 10602263"/>
              <a:gd name="connsiteY8" fmla="*/ 6858000 h 6858000"/>
              <a:gd name="connsiteX9" fmla="*/ 3744263 w 10602263"/>
              <a:gd name="connsiteY9" fmla="*/ 6858000 h 6858000"/>
              <a:gd name="connsiteX10" fmla="*/ 1538868 w 10602263"/>
              <a:gd name="connsiteY10" fmla="*/ 6858000 h 6858000"/>
              <a:gd name="connsiteX11" fmla="*/ 0 w 10602263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02263" h="6858000">
                <a:moveTo>
                  <a:pt x="3959471" y="0"/>
                </a:moveTo>
                <a:lnTo>
                  <a:pt x="6858000" y="0"/>
                </a:lnTo>
                <a:lnTo>
                  <a:pt x="6858000" y="0"/>
                </a:lnTo>
                <a:lnTo>
                  <a:pt x="7703734" y="0"/>
                </a:lnTo>
                <a:lnTo>
                  <a:pt x="8396868" y="0"/>
                </a:lnTo>
                <a:lnTo>
                  <a:pt x="10602263" y="0"/>
                </a:lnTo>
                <a:lnTo>
                  <a:pt x="10602263" y="6858000"/>
                </a:lnTo>
                <a:lnTo>
                  <a:pt x="8396868" y="6858000"/>
                </a:lnTo>
                <a:lnTo>
                  <a:pt x="6858000" y="6858000"/>
                </a:lnTo>
                <a:lnTo>
                  <a:pt x="3744263" y="6858000"/>
                </a:lnTo>
                <a:lnTo>
                  <a:pt x="15388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D2240"/>
          </a:soli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Graphic 35">
            <a:extLst>
              <a:ext uri="{FF2B5EF4-FFF2-40B4-BE49-F238E27FC236}">
                <a16:creationId xmlns:a16="http://schemas.microsoft.com/office/drawing/2014/main" id="{4867B118-CC87-C030-FE22-48E2F2ACA618}"/>
              </a:ext>
            </a:extLst>
          </p:cNvPr>
          <p:cNvSpPr/>
          <p:nvPr/>
        </p:nvSpPr>
        <p:spPr>
          <a:xfrm rot="10800000">
            <a:off x="-5444" y="-1"/>
            <a:ext cx="2487654" cy="4308740"/>
          </a:xfrm>
          <a:custGeom>
            <a:avLst/>
            <a:gdLst>
              <a:gd name="connsiteX0" fmla="*/ 0 w 1451806"/>
              <a:gd name="connsiteY0" fmla="*/ 2514600 h 2514600"/>
              <a:gd name="connsiteX1" fmla="*/ 1451806 w 1451806"/>
              <a:gd name="connsiteY1" fmla="*/ 0 h 2514600"/>
              <a:gd name="connsiteX2" fmla="*/ 1451806 w 1451806"/>
              <a:gd name="connsiteY2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1806" h="2514600">
                <a:moveTo>
                  <a:pt x="0" y="2514600"/>
                </a:moveTo>
                <a:lnTo>
                  <a:pt x="1451806" y="0"/>
                </a:lnTo>
                <a:lnTo>
                  <a:pt x="1451806" y="2514600"/>
                </a:lnTo>
                <a:close/>
              </a:path>
            </a:pathLst>
          </a:custGeom>
          <a:gradFill>
            <a:gsLst>
              <a:gs pos="0">
                <a:srgbClr val="7A2582"/>
              </a:gs>
              <a:gs pos="100000">
                <a:srgbClr val="00338D"/>
              </a:gs>
            </a:gsLst>
            <a:lin ang="19800000" scaled="0"/>
          </a:gradFill>
          <a:ln w="29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Large #">
            <a:extLst>
              <a:ext uri="{FF2B5EF4-FFF2-40B4-BE49-F238E27FC236}">
                <a16:creationId xmlns:a16="http://schemas.microsoft.com/office/drawing/2014/main" id="{299F2BA5-783E-B641-CFAF-E578489FDD6F}"/>
              </a:ext>
            </a:extLst>
          </p:cNvPr>
          <p:cNvSpPr txBox="1"/>
          <p:nvPr/>
        </p:nvSpPr>
        <p:spPr>
          <a:xfrm>
            <a:off x="5263984" y="1464089"/>
            <a:ext cx="6273174" cy="265765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ts val="10000"/>
              </a:lnSpc>
            </a:pPr>
            <a:r>
              <a:rPr lang="en-US" sz="11000" b="1" dirty="0">
                <a:solidFill>
                  <a:schemeClr val="bg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8100 Stoves</a:t>
            </a:r>
          </a:p>
        </p:txBody>
      </p:sp>
      <p:sp>
        <p:nvSpPr>
          <p:cNvPr id="4" name="Body Copy">
            <a:extLst>
              <a:ext uri="{FF2B5EF4-FFF2-40B4-BE49-F238E27FC236}">
                <a16:creationId xmlns:a16="http://schemas.microsoft.com/office/drawing/2014/main" id="{97D2E476-4681-1F92-207B-7C4F02E2F8BB}"/>
              </a:ext>
            </a:extLst>
          </p:cNvPr>
          <p:cNvSpPr txBox="1">
            <a:spLocks/>
          </p:cNvSpPr>
          <p:nvPr/>
        </p:nvSpPr>
        <p:spPr>
          <a:xfrm>
            <a:off x="5362503" y="4805694"/>
            <a:ext cx="4736225" cy="912603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SzPct val="120000"/>
            </a:pPr>
            <a:r>
              <a:rPr lang="en-US" sz="1800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mazing generosity of people in Europe and outside have made it possible to support thousands of households and communities in Ukraine.</a:t>
            </a:r>
          </a:p>
        </p:txBody>
      </p:sp>
      <p:sp>
        <p:nvSpPr>
          <p:cNvPr id="5" name="Yellow Bar">
            <a:extLst>
              <a:ext uri="{FF2B5EF4-FFF2-40B4-BE49-F238E27FC236}">
                <a16:creationId xmlns:a16="http://schemas.microsoft.com/office/drawing/2014/main" id="{DCE18917-35DA-21F8-D528-9FA620A78628}"/>
              </a:ext>
            </a:extLst>
          </p:cNvPr>
          <p:cNvSpPr/>
          <p:nvPr/>
        </p:nvSpPr>
        <p:spPr>
          <a:xfrm>
            <a:off x="5468519" y="4308739"/>
            <a:ext cx="3454918" cy="125079"/>
          </a:xfrm>
          <a:prstGeom prst="rect">
            <a:avLst/>
          </a:prstGeom>
          <a:solidFill>
            <a:srgbClr val="EBB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 dirty="0"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14" name="Page Number - White">
            <a:extLst>
              <a:ext uri="{FF2B5EF4-FFF2-40B4-BE49-F238E27FC236}">
                <a16:creationId xmlns:a16="http://schemas.microsoft.com/office/drawing/2014/main" id="{BE4E2719-3415-185C-6A0D-5C8359380F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7" y="6400726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1962F-67D4-FD44-86D5-55EBF96E0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</a:rPr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162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6142E27-A819-A939-9ACF-8BA6E6377C78}"/>
              </a:ext>
            </a:extLst>
          </p:cNvPr>
          <p:cNvSpPr/>
          <p:nvPr/>
        </p:nvSpPr>
        <p:spPr bwMode="auto">
          <a:xfrm>
            <a:off x="-6416" y="5261"/>
            <a:ext cx="12192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en-US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19" name="Graphic 4">
            <a:extLst>
              <a:ext uri="{FF2B5EF4-FFF2-40B4-BE49-F238E27FC236}">
                <a16:creationId xmlns:a16="http://schemas.microsoft.com/office/drawing/2014/main" id="{6465FF7A-392D-484B-8E3B-1B20F4FAA915}"/>
              </a:ext>
            </a:extLst>
          </p:cNvPr>
          <p:cNvSpPr/>
          <p:nvPr/>
        </p:nvSpPr>
        <p:spPr>
          <a:xfrm rot="10800000">
            <a:off x="-1" y="5443"/>
            <a:ext cx="6858000" cy="6858000"/>
          </a:xfrm>
          <a:custGeom>
            <a:avLst/>
            <a:gdLst>
              <a:gd name="connsiteX0" fmla="*/ 3959471 w 6858000"/>
              <a:gd name="connsiteY0" fmla="*/ 0 h 6858000"/>
              <a:gd name="connsiteX1" fmla="*/ 0 w 6858000"/>
              <a:gd name="connsiteY1" fmla="*/ 6858000 h 6858000"/>
              <a:gd name="connsiteX2" fmla="*/ 6858000 w 6858000"/>
              <a:gd name="connsiteY2" fmla="*/ 6858000 h 6858000"/>
              <a:gd name="connsiteX3" fmla="*/ 6858000 w 6858000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6858000">
                <a:moveTo>
                  <a:pt x="3959471" y="0"/>
                </a:moveTo>
                <a:lnTo>
                  <a:pt x="0" y="6858000"/>
                </a:lnTo>
                <a:lnTo>
                  <a:pt x="6858000" y="6858000"/>
                </a:lnTo>
                <a:lnTo>
                  <a:pt x="6858000" y="0"/>
                </a:lnTo>
                <a:close/>
              </a:path>
            </a:pathLst>
          </a:custGeom>
          <a:gradFill>
            <a:gsLst>
              <a:gs pos="0">
                <a:srgbClr val="7A2582"/>
              </a:gs>
              <a:gs pos="100000">
                <a:srgbClr val="00338D"/>
              </a:gs>
            </a:gsLst>
            <a:lin ang="18600000" scaled="0"/>
          </a:gra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Body Copy">
            <a:extLst>
              <a:ext uri="{FF2B5EF4-FFF2-40B4-BE49-F238E27FC236}">
                <a16:creationId xmlns:a16="http://schemas.microsoft.com/office/drawing/2014/main" id="{A976928F-B454-9A49-B6F7-D7B881D56ADF}"/>
              </a:ext>
            </a:extLst>
          </p:cNvPr>
          <p:cNvSpPr txBox="1">
            <a:spLocks/>
          </p:cNvSpPr>
          <p:nvPr/>
        </p:nvSpPr>
        <p:spPr>
          <a:xfrm>
            <a:off x="6184229" y="1800256"/>
            <a:ext cx="5751095" cy="385458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182875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Clr>
                <a:srgbClr val="EBB700"/>
              </a:buClr>
              <a:buSzPct val="120000"/>
              <a:buFont typeface="Lucida Grande" panose="020B0600040502020204" pitchFamily="34" charset="0"/>
              <a:buChar char="▶"/>
            </a:pPr>
            <a:r>
              <a:rPr lang="en-US" b="1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25 countries </a:t>
            </a: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participated, </a:t>
            </a:r>
            <a:b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from </a:t>
            </a:r>
            <a:r>
              <a:rPr lang="en-US" b="1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5 Constitutional Areas</a:t>
            </a: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.</a:t>
            </a:r>
            <a:b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</a:br>
            <a:endParaRPr lang="en-US" kern="0" dirty="0">
              <a:solidFill>
                <a:schemeClr val="accent6"/>
              </a:solidFill>
              <a:latin typeface="Arial" charset="0"/>
              <a:ea typeface="Arial" charset="0"/>
              <a:cs typeface="Arial" charset="0"/>
            </a:endParaRPr>
          </a:p>
          <a:p>
            <a:pPr marL="342900" indent="-342900">
              <a:buClr>
                <a:srgbClr val="EBB700"/>
              </a:buClr>
              <a:buSzPct val="120000"/>
              <a:buFont typeface="Lucida Grande" panose="020B0600040502020204" pitchFamily="34" charset="0"/>
              <a:buChar char="▶"/>
            </a:pPr>
            <a:r>
              <a:rPr lang="en-US" b="1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TOP 5</a:t>
            </a: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 donated over </a:t>
            </a:r>
            <a:r>
              <a:rPr lang="en-US" b="1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100,000 EUR </a:t>
            </a: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each, </a:t>
            </a:r>
            <a:b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and </a:t>
            </a:r>
            <a:r>
              <a:rPr lang="en-US" b="1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13</a:t>
            </a: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 countries donated over </a:t>
            </a:r>
            <a:r>
              <a:rPr lang="en-US" b="1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10,000 EUR</a:t>
            </a:r>
            <a:r>
              <a:rPr lang="en-US" kern="0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.</a:t>
            </a:r>
          </a:p>
        </p:txBody>
      </p:sp>
      <p:sp>
        <p:nvSpPr>
          <p:cNvPr id="11" name="Page Number - White">
            <a:extLst>
              <a:ext uri="{FF2B5EF4-FFF2-40B4-BE49-F238E27FC236}">
                <a16:creationId xmlns:a16="http://schemas.microsoft.com/office/drawing/2014/main" id="{596DF32C-34CF-2545-9409-7DE8FF841D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7" y="6400726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chemeClr val="accent6"/>
                </a:solidFill>
              </a:rPr>
              <a:pPr eaLnBrk="0" hangingPunct="0">
                <a:spcBef>
                  <a:spcPct val="50000"/>
                </a:spcBef>
                <a:defRPr/>
              </a:pPr>
              <a:t>7</a:t>
            </a:fld>
            <a:endParaRPr lang="en-US" sz="1000" dirty="0">
              <a:solidFill>
                <a:schemeClr val="accent6"/>
              </a:solidFill>
            </a:endParaRP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id="{884D2F3C-77C4-0842-BD09-61B2F6C68A95}"/>
              </a:ext>
            </a:extLst>
          </p:cNvPr>
          <p:cNvSpPr txBox="1">
            <a:spLocks/>
          </p:cNvSpPr>
          <p:nvPr/>
        </p:nvSpPr>
        <p:spPr>
          <a:xfrm>
            <a:off x="372975" y="366728"/>
            <a:ext cx="5376661" cy="37449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rgbClr val="095495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338D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600" kern="0" dirty="0">
                <a:solidFill>
                  <a:srgbClr val="EBB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Results</a:t>
            </a:r>
          </a:p>
        </p:txBody>
      </p:sp>
      <p:sp>
        <p:nvSpPr>
          <p:cNvPr id="15" name="Large #">
            <a:extLst>
              <a:ext uri="{FF2B5EF4-FFF2-40B4-BE49-F238E27FC236}">
                <a16:creationId xmlns:a16="http://schemas.microsoft.com/office/drawing/2014/main" id="{7608EE1B-19CA-1A80-35A3-D9D2FF48FA45}"/>
              </a:ext>
            </a:extLst>
          </p:cNvPr>
          <p:cNvSpPr txBox="1"/>
          <p:nvPr/>
        </p:nvSpPr>
        <p:spPr>
          <a:xfrm>
            <a:off x="359945" y="1676400"/>
            <a:ext cx="4364455" cy="470898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ts val="9000"/>
              </a:lnSpc>
            </a:pPr>
            <a:r>
              <a:rPr lang="en-US" sz="20000" b="1" i="1" dirty="0">
                <a:solidFill>
                  <a:schemeClr val="bg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 1.2</a:t>
            </a:r>
          </a:p>
          <a:p>
            <a:pPr>
              <a:lnSpc>
                <a:spcPts val="9000"/>
              </a:lnSpc>
            </a:pPr>
            <a:r>
              <a:rPr lang="en-US" sz="8000" b="1" i="1" dirty="0">
                <a:solidFill>
                  <a:schemeClr val="bg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Million</a:t>
            </a:r>
          </a:p>
          <a:p>
            <a:pPr>
              <a:lnSpc>
                <a:spcPts val="9000"/>
              </a:lnSpc>
            </a:pPr>
            <a:r>
              <a:rPr lang="en-US" sz="8000" b="1" i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USD</a:t>
            </a:r>
            <a:endParaRPr lang="en-US" sz="8000" b="1" i="1" dirty="0">
              <a:solidFill>
                <a:schemeClr val="bg1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93904CE-E9C5-90B1-5F16-6DA8CCCD86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0728" y="413948"/>
            <a:ext cx="739156" cy="702199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" name="Kaavio 1">
                <a:extLst>
                  <a:ext uri="{FF2B5EF4-FFF2-40B4-BE49-F238E27FC236}">
                    <a16:creationId xmlns:a16="http://schemas.microsoft.com/office/drawing/2014/main" id="{6F22CCAB-EA6F-3CCA-392F-5C14E4719809}"/>
                  </a:ext>
                </a:extLst>
              </p:cNvPr>
              <p:cNvGraphicFramePr/>
              <p:nvPr>
                <p:custDataLst>
                  <p:tags r:id="rId1"/>
                </p:custDataLst>
              </p:nvPr>
            </p:nvGraphicFramePr>
            <p:xfrm>
              <a:off x="6502400" y="3505200"/>
              <a:ext cx="5329655" cy="295541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2" name="Kaavio 1">
                <a:extLst>
                  <a:ext uri="{FF2B5EF4-FFF2-40B4-BE49-F238E27FC236}">
                    <a16:creationId xmlns:a16="http://schemas.microsoft.com/office/drawing/2014/main" id="{6F22CCAB-EA6F-3CCA-392F-5C14E471980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502400" y="3505200"/>
                <a:ext cx="5329655" cy="295541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74383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9C5B61C0-8933-9059-FF25-306D3CEF69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B61C0-8933-9059-FF25-306D3CEF69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Kuva 30" descr="Käyttäjä tasaisella täytöllä">
            <a:extLst>
              <a:ext uri="{FF2B5EF4-FFF2-40B4-BE49-F238E27FC236}">
                <a16:creationId xmlns:a16="http://schemas.microsoft.com/office/drawing/2014/main" id="{528FE83A-6D36-7C83-8B3F-75A15765F4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025865" y="1455024"/>
            <a:ext cx="914400" cy="914400"/>
          </a:xfrm>
          <a:prstGeom prst="rect">
            <a:avLst/>
          </a:prstGeom>
        </p:spPr>
      </p:pic>
      <p:pic>
        <p:nvPicPr>
          <p:cNvPr id="32" name="Kuva 31" descr="Käyttäjä ääriviiva">
            <a:extLst>
              <a:ext uri="{FF2B5EF4-FFF2-40B4-BE49-F238E27FC236}">
                <a16:creationId xmlns:a16="http://schemas.microsoft.com/office/drawing/2014/main" id="{A4EE7D53-E517-3E38-2597-8648C7BD49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1901960" y="1507572"/>
            <a:ext cx="914400" cy="914400"/>
          </a:xfrm>
          <a:prstGeom prst="rect">
            <a:avLst/>
          </a:prstGeom>
        </p:spPr>
      </p:pic>
      <p:pic>
        <p:nvPicPr>
          <p:cNvPr id="33" name="Kuva 32" descr="Toimisto työntekijä nainen tasaisella täytöllä">
            <a:extLst>
              <a:ext uri="{FF2B5EF4-FFF2-40B4-BE49-F238E27FC236}">
                <a16:creationId xmlns:a16="http://schemas.microsoft.com/office/drawing/2014/main" id="{B24461B9-9307-01D0-82C3-784BAB3C0D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1038819" y="2353752"/>
            <a:ext cx="914400" cy="914400"/>
          </a:xfrm>
          <a:prstGeom prst="rect">
            <a:avLst/>
          </a:prstGeom>
        </p:spPr>
      </p:pic>
      <p:pic>
        <p:nvPicPr>
          <p:cNvPr id="34" name="Kuva 33" descr="Toimisto työntekijä mies ääriviiva">
            <a:extLst>
              <a:ext uri="{FF2B5EF4-FFF2-40B4-BE49-F238E27FC236}">
                <a16:creationId xmlns:a16="http://schemas.microsoft.com/office/drawing/2014/main" id="{33F2DABC-9851-601A-02E4-E8F5D17541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1921378" y="3351612"/>
            <a:ext cx="914400" cy="914400"/>
          </a:xfrm>
          <a:prstGeom prst="rect">
            <a:avLst/>
          </a:prstGeom>
        </p:spPr>
      </p:pic>
      <p:pic>
        <p:nvPicPr>
          <p:cNvPr id="35" name="Kuva 34" descr="Toimisto työntekijä nainen ääriviiva">
            <a:extLst>
              <a:ext uri="{FF2B5EF4-FFF2-40B4-BE49-F238E27FC236}">
                <a16:creationId xmlns:a16="http://schemas.microsoft.com/office/drawing/2014/main" id="{7E925805-29BE-4A8E-68F8-5F47C3A0732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1858767" y="2392503"/>
            <a:ext cx="914400" cy="914400"/>
          </a:xfrm>
          <a:prstGeom prst="rect">
            <a:avLst/>
          </a:prstGeom>
        </p:spPr>
      </p:pic>
      <p:pic>
        <p:nvPicPr>
          <p:cNvPr id="36" name="Kuva 35" descr="Toimisto työntekijä mies tasaisella täytöllä">
            <a:extLst>
              <a:ext uri="{FF2B5EF4-FFF2-40B4-BE49-F238E27FC236}">
                <a16:creationId xmlns:a16="http://schemas.microsoft.com/office/drawing/2014/main" id="{E7CA5D00-9DDC-CAA0-B864-374A029517F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1038223" y="3272376"/>
            <a:ext cx="914400" cy="914400"/>
          </a:xfrm>
          <a:prstGeom prst="rect">
            <a:avLst/>
          </a:prstGeom>
        </p:spPr>
      </p:pic>
      <p:pic>
        <p:nvPicPr>
          <p:cNvPr id="37" name="Kuva 36" descr="Naisen profiili tasaisella täytöllä">
            <a:extLst>
              <a:ext uri="{FF2B5EF4-FFF2-40B4-BE49-F238E27FC236}">
                <a16:creationId xmlns:a16="http://schemas.microsoft.com/office/drawing/2014/main" id="{57840279-32C5-DAFD-310D-957D6A728AB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-1038819" y="4263468"/>
            <a:ext cx="914400" cy="914400"/>
          </a:xfrm>
          <a:prstGeom prst="rect">
            <a:avLst/>
          </a:prstGeom>
        </p:spPr>
      </p:pic>
      <p:pic>
        <p:nvPicPr>
          <p:cNvPr id="38" name="Kuva 37" descr="Miehen profiili ääriviiva">
            <a:extLst>
              <a:ext uri="{FF2B5EF4-FFF2-40B4-BE49-F238E27FC236}">
                <a16:creationId xmlns:a16="http://schemas.microsoft.com/office/drawing/2014/main" id="{827D0AA0-9051-54B3-A804-DA6678F5F63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-1904282" y="5147100"/>
            <a:ext cx="914400" cy="914400"/>
          </a:xfrm>
          <a:prstGeom prst="rect">
            <a:avLst/>
          </a:prstGeom>
        </p:spPr>
      </p:pic>
      <p:pic>
        <p:nvPicPr>
          <p:cNvPr id="39" name="Kuva 38" descr="Koulupoika ääriviiva">
            <a:extLst>
              <a:ext uri="{FF2B5EF4-FFF2-40B4-BE49-F238E27FC236}">
                <a16:creationId xmlns:a16="http://schemas.microsoft.com/office/drawing/2014/main" id="{1AE903D1-6956-8514-5AE1-B020FB1CDFD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-1768775" y="6055398"/>
            <a:ext cx="914400" cy="914400"/>
          </a:xfrm>
          <a:prstGeom prst="rect">
            <a:avLst/>
          </a:prstGeom>
        </p:spPr>
      </p:pic>
      <p:pic>
        <p:nvPicPr>
          <p:cNvPr id="40" name="Kuva 39" descr="Naisen profiili ääriviiva">
            <a:extLst>
              <a:ext uri="{FF2B5EF4-FFF2-40B4-BE49-F238E27FC236}">
                <a16:creationId xmlns:a16="http://schemas.microsoft.com/office/drawing/2014/main" id="{CC7014B6-D1CE-E145-582C-13EB0D5D38A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-1889538" y="4243254"/>
            <a:ext cx="914400" cy="914400"/>
          </a:xfrm>
          <a:prstGeom prst="rect">
            <a:avLst/>
          </a:prstGeom>
        </p:spPr>
      </p:pic>
      <p:pic>
        <p:nvPicPr>
          <p:cNvPr id="41" name="Kuva 40" descr="Miehen profiili tasaisella täytöllä">
            <a:extLst>
              <a:ext uri="{FF2B5EF4-FFF2-40B4-BE49-F238E27FC236}">
                <a16:creationId xmlns:a16="http://schemas.microsoft.com/office/drawing/2014/main" id="{A82242A5-650F-9A8C-380A-65DE54EB8EA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-1038528" y="5140421"/>
            <a:ext cx="914400" cy="914400"/>
          </a:xfrm>
          <a:prstGeom prst="rect">
            <a:avLst/>
          </a:prstGeom>
        </p:spPr>
      </p:pic>
      <p:pic>
        <p:nvPicPr>
          <p:cNvPr id="42" name="Kuva 41" descr="Koulupoika tasaisella täytöllä">
            <a:extLst>
              <a:ext uri="{FF2B5EF4-FFF2-40B4-BE49-F238E27FC236}">
                <a16:creationId xmlns:a16="http://schemas.microsoft.com/office/drawing/2014/main" id="{6C6523F8-02D5-FEC7-7514-5E6B32A9710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-1087657" y="6049296"/>
            <a:ext cx="914400" cy="9144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AA8518-4184-765D-E53B-20C74AA01274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D224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en-US" sz="3000" b="0" i="0" u="none" strike="noStrike" cap="none" normalizeH="0" dirty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6" name="Background - Solid">
            <a:extLst>
              <a:ext uri="{FF2B5EF4-FFF2-40B4-BE49-F238E27FC236}">
                <a16:creationId xmlns:a16="http://schemas.microsoft.com/office/drawing/2014/main" id="{D256824C-2B02-2735-973D-4D7957E2D60D}"/>
              </a:ext>
            </a:extLst>
          </p:cNvPr>
          <p:cNvSpPr/>
          <p:nvPr/>
        </p:nvSpPr>
        <p:spPr>
          <a:xfrm>
            <a:off x="0" y="-2"/>
            <a:ext cx="12192000" cy="868681"/>
          </a:xfrm>
          <a:prstGeom prst="rect">
            <a:avLst/>
          </a:prstGeom>
          <a:gradFill>
            <a:gsLst>
              <a:gs pos="0">
                <a:srgbClr val="00338D"/>
              </a:gs>
              <a:gs pos="100000">
                <a:srgbClr val="7A2582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7" name="Background - Solid">
            <a:extLst>
              <a:ext uri="{FF2B5EF4-FFF2-40B4-BE49-F238E27FC236}">
                <a16:creationId xmlns:a16="http://schemas.microsoft.com/office/drawing/2014/main" id="{98641075-39D8-B523-2CC8-8C4F92F28E03}"/>
              </a:ext>
            </a:extLst>
          </p:cNvPr>
          <p:cNvSpPr/>
          <p:nvPr/>
        </p:nvSpPr>
        <p:spPr>
          <a:xfrm>
            <a:off x="-1524" y="640080"/>
            <a:ext cx="12193524" cy="228600"/>
          </a:xfrm>
          <a:prstGeom prst="rect">
            <a:avLst/>
          </a:prstGeom>
          <a:solidFill>
            <a:srgbClr val="0D2240">
              <a:alpha val="2097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4" name="Page Number - Blue">
            <a:extLst>
              <a:ext uri="{FF2B5EF4-FFF2-40B4-BE49-F238E27FC236}">
                <a16:creationId xmlns:a16="http://schemas.microsoft.com/office/drawing/2014/main" id="{FCA101BF-6907-9839-6FD0-16EBCAA660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6" y="6400725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1962F-67D4-FD44-86D5-55EBF96E0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</a:rPr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D2AC43-288D-D2C2-B200-D312FAE6139D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822" y="201698"/>
            <a:ext cx="917472" cy="871598"/>
          </a:xfrm>
          <a:prstGeom prst="rect">
            <a:avLst/>
          </a:prstGeom>
        </p:spPr>
      </p:pic>
      <p:pic>
        <p:nvPicPr>
          <p:cNvPr id="8" name="Kuva 7" descr="Padallinen kultaa tasaisella täytöllä">
            <a:extLst>
              <a:ext uri="{FF2B5EF4-FFF2-40B4-BE49-F238E27FC236}">
                <a16:creationId xmlns:a16="http://schemas.microsoft.com/office/drawing/2014/main" id="{52115DE6-E2B1-4FE8-0C50-DE5E0BC6389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3639800" y="1286256"/>
            <a:ext cx="914400" cy="914400"/>
          </a:xfrm>
          <a:prstGeom prst="rect">
            <a:avLst/>
          </a:prstGeom>
        </p:spPr>
      </p:pic>
      <p:pic>
        <p:nvPicPr>
          <p:cNvPr id="10" name="Kuva 9" descr="Aarteeni säiliö tasaisella täytöllä">
            <a:extLst>
              <a:ext uri="{FF2B5EF4-FFF2-40B4-BE49-F238E27FC236}">
                <a16:creationId xmlns:a16="http://schemas.microsoft.com/office/drawing/2014/main" id="{35F4AA03-D714-3390-5911-51E0B2B7A59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3716000" y="243840"/>
            <a:ext cx="914400" cy="914400"/>
          </a:xfrm>
          <a:prstGeom prst="rect">
            <a:avLst/>
          </a:prstGeom>
        </p:spPr>
      </p:pic>
      <p:pic>
        <p:nvPicPr>
          <p:cNvPr id="14" name="Kuva 13" descr="Yhteydet tasaisella täytöllä">
            <a:extLst>
              <a:ext uri="{FF2B5EF4-FFF2-40B4-BE49-F238E27FC236}">
                <a16:creationId xmlns:a16="http://schemas.microsoft.com/office/drawing/2014/main" id="{A5C567CA-8AA2-174C-57E2-3F5616A9A324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2524232" y="1295400"/>
            <a:ext cx="914400" cy="914400"/>
          </a:xfrm>
          <a:prstGeom prst="rect">
            <a:avLst/>
          </a:prstGeom>
        </p:spPr>
      </p:pic>
      <p:pic>
        <p:nvPicPr>
          <p:cNvPr id="16" name="Kuva 15" descr="Verkko tasaisella täytöllä">
            <a:extLst>
              <a:ext uri="{FF2B5EF4-FFF2-40B4-BE49-F238E27FC236}">
                <a16:creationId xmlns:a16="http://schemas.microsoft.com/office/drawing/2014/main" id="{56DFB276-6329-7995-2D5D-31C7414501B5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2725400" y="2493264"/>
            <a:ext cx="914400" cy="914400"/>
          </a:xfrm>
          <a:prstGeom prst="rect">
            <a:avLst/>
          </a:prstGeom>
        </p:spPr>
      </p:pic>
      <p:pic>
        <p:nvPicPr>
          <p:cNvPr id="18" name="Kuva 17" descr="Verkko ääriviiva">
            <a:extLst>
              <a:ext uri="{FF2B5EF4-FFF2-40B4-BE49-F238E27FC236}">
                <a16:creationId xmlns:a16="http://schemas.microsoft.com/office/drawing/2014/main" id="{13D51560-DF8A-99FC-0845-5B76AB1E39B3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3770864" y="2590800"/>
            <a:ext cx="914400" cy="914400"/>
          </a:xfrm>
          <a:prstGeom prst="rect">
            <a:avLst/>
          </a:prstGeom>
        </p:spPr>
      </p:pic>
      <p:pic>
        <p:nvPicPr>
          <p:cNvPr id="20" name="Kuva 19" descr="Sosiaalinen verkosto tasaisella täytöllä">
            <a:extLst>
              <a:ext uri="{FF2B5EF4-FFF2-40B4-BE49-F238E27FC236}">
                <a16:creationId xmlns:a16="http://schemas.microsoft.com/office/drawing/2014/main" id="{7E62F5D2-D984-0FAD-BC0E-16223C824325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2877800" y="3733800"/>
            <a:ext cx="914400" cy="914400"/>
          </a:xfrm>
          <a:prstGeom prst="rect">
            <a:avLst/>
          </a:prstGeom>
        </p:spPr>
      </p:pic>
      <p:pic>
        <p:nvPicPr>
          <p:cNvPr id="22" name="Kuva 21" descr="Käyttäjäverkosto tasaisella täytöllä">
            <a:extLst>
              <a:ext uri="{FF2B5EF4-FFF2-40B4-BE49-F238E27FC236}">
                <a16:creationId xmlns:a16="http://schemas.microsoft.com/office/drawing/2014/main" id="{15ED8650-E146-E9B1-C493-0DAB8AB6086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2954000" y="4724400"/>
            <a:ext cx="914400" cy="914400"/>
          </a:xfrm>
          <a:prstGeom prst="rect">
            <a:avLst/>
          </a:prstGeom>
        </p:spPr>
      </p:pic>
      <p:pic>
        <p:nvPicPr>
          <p:cNvPr id="1074" name="Kuva 1073" descr="Maapallo: Aasia ja Australia tasaisella täytöllä">
            <a:extLst>
              <a:ext uri="{FF2B5EF4-FFF2-40B4-BE49-F238E27FC236}">
                <a16:creationId xmlns:a16="http://schemas.microsoft.com/office/drawing/2014/main" id="{E0FCFEE2-5183-77F2-5528-53DF8E25924A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-1111506" y="-45721"/>
            <a:ext cx="914400" cy="914400"/>
          </a:xfrm>
          <a:prstGeom prst="rect">
            <a:avLst/>
          </a:prstGeom>
        </p:spPr>
      </p:pic>
      <p:pic>
        <p:nvPicPr>
          <p:cNvPr id="1076" name="Kuva 1075" descr="Maapallo tasaisella täytöllä">
            <a:extLst>
              <a:ext uri="{FF2B5EF4-FFF2-40B4-BE49-F238E27FC236}">
                <a16:creationId xmlns:a16="http://schemas.microsoft.com/office/drawing/2014/main" id="{CB966438-4A78-47E7-5E59-4BFC54D13072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-1796403" y="552828"/>
            <a:ext cx="914400" cy="914400"/>
          </a:xfrm>
          <a:prstGeom prst="rect">
            <a:avLst/>
          </a:prstGeom>
        </p:spPr>
      </p:pic>
      <p:pic>
        <p:nvPicPr>
          <p:cNvPr id="1084" name="Kuva 1083" descr="Maapallo tasaisella täytöllä">
            <a:extLst>
              <a:ext uri="{FF2B5EF4-FFF2-40B4-BE49-F238E27FC236}">
                <a16:creationId xmlns:a16="http://schemas.microsoft.com/office/drawing/2014/main" id="{4A0AEEFF-9733-2F4C-58A9-7E2A073EB4CC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-1510957" y="-277543"/>
            <a:ext cx="423300" cy="423300"/>
          </a:xfrm>
          <a:prstGeom prst="rect">
            <a:avLst/>
          </a:prstGeom>
        </p:spPr>
      </p:pic>
      <p:grpSp>
        <p:nvGrpSpPr>
          <p:cNvPr id="1163" name="Ryhmä 1162">
            <a:extLst>
              <a:ext uri="{FF2B5EF4-FFF2-40B4-BE49-F238E27FC236}">
                <a16:creationId xmlns:a16="http://schemas.microsoft.com/office/drawing/2014/main" id="{048C4384-9374-521E-3684-49DDA4306B34}"/>
              </a:ext>
            </a:extLst>
          </p:cNvPr>
          <p:cNvGrpSpPr/>
          <p:nvPr/>
        </p:nvGrpSpPr>
        <p:grpSpPr>
          <a:xfrm>
            <a:off x="370941" y="2319626"/>
            <a:ext cx="5248612" cy="4183136"/>
            <a:chOff x="370941" y="2319626"/>
            <a:chExt cx="5248612" cy="4183136"/>
          </a:xfrm>
        </p:grpSpPr>
        <p:grpSp>
          <p:nvGrpSpPr>
            <p:cNvPr id="1038" name="Ryhmä 1037">
              <a:extLst>
                <a:ext uri="{FF2B5EF4-FFF2-40B4-BE49-F238E27FC236}">
                  <a16:creationId xmlns:a16="http://schemas.microsoft.com/office/drawing/2014/main" id="{5AB856A0-F218-685A-3D8E-3FF7406116CC}"/>
                </a:ext>
              </a:extLst>
            </p:cNvPr>
            <p:cNvGrpSpPr/>
            <p:nvPr/>
          </p:nvGrpSpPr>
          <p:grpSpPr>
            <a:xfrm>
              <a:off x="643368" y="3039627"/>
              <a:ext cx="4824554" cy="3463135"/>
              <a:chOff x="1524000" y="1718465"/>
              <a:chExt cx="4824554" cy="3463135"/>
            </a:xfrm>
          </p:grpSpPr>
          <p:sp>
            <p:nvSpPr>
              <p:cNvPr id="30" name="Ellipsi 29">
                <a:extLst>
                  <a:ext uri="{FF2B5EF4-FFF2-40B4-BE49-F238E27FC236}">
                    <a16:creationId xmlns:a16="http://schemas.microsoft.com/office/drawing/2014/main" id="{9A54805F-A8BC-E114-8740-4C97C057D46D}"/>
                  </a:ext>
                </a:extLst>
              </p:cNvPr>
              <p:cNvSpPr/>
              <p:nvPr/>
            </p:nvSpPr>
            <p:spPr bwMode="auto">
              <a:xfrm>
                <a:off x="3293814" y="2799000"/>
                <a:ext cx="1260000" cy="1260000"/>
              </a:xfrm>
              <a:prstGeom prst="ellips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grpSp>
            <p:nvGrpSpPr>
              <p:cNvPr id="62" name="Ryhmä 61">
                <a:extLst>
                  <a:ext uri="{FF2B5EF4-FFF2-40B4-BE49-F238E27FC236}">
                    <a16:creationId xmlns:a16="http://schemas.microsoft.com/office/drawing/2014/main" id="{0B4E1821-A87A-218A-A16C-6F8DCB5A980F}"/>
                  </a:ext>
                </a:extLst>
              </p:cNvPr>
              <p:cNvGrpSpPr/>
              <p:nvPr/>
            </p:nvGrpSpPr>
            <p:grpSpPr>
              <a:xfrm>
                <a:off x="2108152" y="4425600"/>
                <a:ext cx="1167368" cy="720000"/>
                <a:chOff x="2175600" y="4525060"/>
                <a:chExt cx="1167368" cy="720000"/>
              </a:xfrm>
            </p:grpSpPr>
            <p:pic>
              <p:nvPicPr>
                <p:cNvPr id="45" name="Kuva 44" descr="Toimisto työntekijä mies tasaisella täytöllä">
                  <a:extLst>
                    <a:ext uri="{FF2B5EF4-FFF2-40B4-BE49-F238E27FC236}">
                      <a16:creationId xmlns:a16="http://schemas.microsoft.com/office/drawing/2014/main" id="{67ABA9E8-8064-E970-1D88-2CFB7BE97C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1">
                  <a:extLst>
                    <a:ext uri="{96DAC541-7B7A-43D3-8B79-37D633B846F1}">
                      <asvg:svgBlip xmlns:asvg="http://schemas.microsoft.com/office/drawing/2016/SVG/main" r:embed="rId5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75600" y="4525060"/>
                  <a:ext cx="720000" cy="720000"/>
                </a:xfrm>
                <a:prstGeom prst="rect">
                  <a:avLst/>
                </a:prstGeom>
              </p:spPr>
            </p:pic>
            <p:sp>
              <p:nvSpPr>
                <p:cNvPr id="50" name="Ellipsi 49">
                  <a:extLst>
                    <a:ext uri="{FF2B5EF4-FFF2-40B4-BE49-F238E27FC236}">
                      <a16:creationId xmlns:a16="http://schemas.microsoft.com/office/drawing/2014/main" id="{37158E0B-D3C2-8DD9-628A-1C543CD93327}"/>
                    </a:ext>
                  </a:extLst>
                </p:cNvPr>
                <p:cNvSpPr/>
                <p:nvPr/>
              </p:nvSpPr>
              <p:spPr bwMode="auto">
                <a:xfrm>
                  <a:off x="2838968" y="4632991"/>
                  <a:ext cx="504000" cy="504139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45720" rIns="91440" bIns="4572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609600" marR="0" indent="-609600" algn="ctr" defTabSz="914400" rtl="0" eaLnBrk="1" fontAlgn="base" latinLnBrk="0" hangingPunct="1">
                    <a:spcAft>
                      <a:spcPct val="0"/>
                    </a:spcAft>
                    <a:buClrTx/>
                    <a:buSzTx/>
                    <a:buFont typeface="Helvetica" pitchFamily="84" charset="0"/>
                    <a:buNone/>
                    <a:tabLst/>
                  </a:pPr>
                  <a:r>
                    <a:rPr kumimoji="0" lang="fi-FI" sz="3000" b="1" i="0" u="none" strike="noStrike" cap="none" normalizeH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ea typeface="ヒラギノ角ゴ Pro W3" pitchFamily="84" charset="-128"/>
                    </a:rPr>
                    <a:t>€</a:t>
                  </a:r>
                </a:p>
              </p:txBody>
            </p:sp>
          </p:grpSp>
          <p:grpSp>
            <p:nvGrpSpPr>
              <p:cNvPr id="63" name="Ryhmä 62">
                <a:extLst>
                  <a:ext uri="{FF2B5EF4-FFF2-40B4-BE49-F238E27FC236}">
                    <a16:creationId xmlns:a16="http://schemas.microsoft.com/office/drawing/2014/main" id="{E2957C39-33F5-BDD4-B95F-20275A68A64E}"/>
                  </a:ext>
                </a:extLst>
              </p:cNvPr>
              <p:cNvGrpSpPr/>
              <p:nvPr/>
            </p:nvGrpSpPr>
            <p:grpSpPr>
              <a:xfrm>
                <a:off x="1524000" y="3121762"/>
                <a:ext cx="1119494" cy="720000"/>
                <a:chOff x="1642814" y="3170250"/>
                <a:chExt cx="1119494" cy="720000"/>
              </a:xfrm>
            </p:grpSpPr>
            <p:pic>
              <p:nvPicPr>
                <p:cNvPr id="49" name="Kuva 48" descr="Naisen profiili tasaisella täytöllä">
                  <a:extLst>
                    <a:ext uri="{FF2B5EF4-FFF2-40B4-BE49-F238E27FC236}">
                      <a16:creationId xmlns:a16="http://schemas.microsoft.com/office/drawing/2014/main" id="{9A6E7C03-4409-EB2D-0987-E79C1DFF55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3">
                  <a:extLst>
                    <a:ext uri="{96DAC541-7B7A-43D3-8B79-37D633B846F1}">
                      <asvg:svgBlip xmlns:asvg="http://schemas.microsoft.com/office/drawing/2016/SVG/main" r:embed="rId54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642814" y="3170250"/>
                  <a:ext cx="656200" cy="720000"/>
                </a:xfrm>
                <a:prstGeom prst="rect">
                  <a:avLst/>
                </a:prstGeom>
              </p:spPr>
            </p:pic>
            <p:sp>
              <p:nvSpPr>
                <p:cNvPr id="51" name="Ellipsi 50">
                  <a:extLst>
                    <a:ext uri="{FF2B5EF4-FFF2-40B4-BE49-F238E27FC236}">
                      <a16:creationId xmlns:a16="http://schemas.microsoft.com/office/drawing/2014/main" id="{18DF4C6B-5E49-809B-3272-2699F46C0CE3}"/>
                    </a:ext>
                  </a:extLst>
                </p:cNvPr>
                <p:cNvSpPr/>
                <p:nvPr/>
              </p:nvSpPr>
              <p:spPr bwMode="auto">
                <a:xfrm>
                  <a:off x="2258308" y="3278181"/>
                  <a:ext cx="504000" cy="504139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45720" rIns="91440" bIns="4572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609600" marR="0" indent="-609600" algn="ctr" defTabSz="914400" rtl="0" eaLnBrk="1" fontAlgn="base" latinLnBrk="0" hangingPunct="1">
                    <a:spcAft>
                      <a:spcPct val="0"/>
                    </a:spcAft>
                    <a:buClrTx/>
                    <a:buSzTx/>
                    <a:buFont typeface="Helvetica" pitchFamily="84" charset="0"/>
                    <a:buNone/>
                    <a:tabLst/>
                  </a:pPr>
                  <a:r>
                    <a:rPr kumimoji="0" lang="fi-FI" sz="3000" b="1" i="0" u="none" strike="noStrike" cap="none" normalizeH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ea typeface="ヒラギノ角ゴ Pro W3" pitchFamily="84" charset="-128"/>
                    </a:rPr>
                    <a:t>€</a:t>
                  </a:r>
                </a:p>
              </p:txBody>
            </p:sp>
          </p:grpSp>
          <p:grpSp>
            <p:nvGrpSpPr>
              <p:cNvPr id="1024" name="Ryhmä 1023">
                <a:extLst>
                  <a:ext uri="{FF2B5EF4-FFF2-40B4-BE49-F238E27FC236}">
                    <a16:creationId xmlns:a16="http://schemas.microsoft.com/office/drawing/2014/main" id="{D28417FB-3128-F9B9-757C-B5521D68B7B4}"/>
                  </a:ext>
                </a:extLst>
              </p:cNvPr>
              <p:cNvGrpSpPr/>
              <p:nvPr/>
            </p:nvGrpSpPr>
            <p:grpSpPr>
              <a:xfrm>
                <a:off x="2108152" y="1718465"/>
                <a:ext cx="1158121" cy="720000"/>
                <a:chOff x="1870800" y="1718465"/>
                <a:chExt cx="1158121" cy="720000"/>
              </a:xfrm>
            </p:grpSpPr>
            <p:pic>
              <p:nvPicPr>
                <p:cNvPr id="44" name="Kuva 43" descr="Toimisto työntekijä nainen tasaisella täytöllä">
                  <a:extLst>
                    <a:ext uri="{FF2B5EF4-FFF2-40B4-BE49-F238E27FC236}">
                      <a16:creationId xmlns:a16="http://schemas.microsoft.com/office/drawing/2014/main" id="{871116BD-3804-F899-4E2C-4E750B8CDD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5">
                  <a:extLst>
                    <a:ext uri="{96DAC541-7B7A-43D3-8B79-37D633B846F1}">
                      <asvg:svgBlip xmlns:asvg="http://schemas.microsoft.com/office/drawing/2016/SVG/main" r:embed="rId5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70800" y="1718465"/>
                  <a:ext cx="720000" cy="720000"/>
                </a:xfrm>
                <a:prstGeom prst="rect">
                  <a:avLst/>
                </a:prstGeom>
              </p:spPr>
            </p:pic>
            <p:sp>
              <p:nvSpPr>
                <p:cNvPr id="52" name="Ellipsi 51">
                  <a:extLst>
                    <a:ext uri="{FF2B5EF4-FFF2-40B4-BE49-F238E27FC236}">
                      <a16:creationId xmlns:a16="http://schemas.microsoft.com/office/drawing/2014/main" id="{8452212A-35B3-EA3B-1BBF-D58C694585FE}"/>
                    </a:ext>
                  </a:extLst>
                </p:cNvPr>
                <p:cNvSpPr/>
                <p:nvPr/>
              </p:nvSpPr>
              <p:spPr bwMode="auto">
                <a:xfrm>
                  <a:off x="2524921" y="1826396"/>
                  <a:ext cx="504000" cy="504139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45720" rIns="91440" bIns="4572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609600" marR="0" indent="-609600" algn="ctr" defTabSz="914400" rtl="0" eaLnBrk="1" fontAlgn="base" latinLnBrk="0" hangingPunct="1">
                    <a:spcAft>
                      <a:spcPct val="0"/>
                    </a:spcAft>
                    <a:buClrTx/>
                    <a:buSzTx/>
                    <a:buFont typeface="Helvetica" pitchFamily="84" charset="0"/>
                    <a:buNone/>
                    <a:tabLst/>
                  </a:pPr>
                  <a:r>
                    <a:rPr kumimoji="0" lang="fi-FI" sz="3000" b="1" i="0" u="none" strike="noStrike" cap="none" normalizeH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ea typeface="ヒラギノ角ゴ Pro W3" pitchFamily="84" charset="-128"/>
                    </a:rPr>
                    <a:t>€</a:t>
                  </a:r>
                </a:p>
              </p:txBody>
            </p:sp>
          </p:grpSp>
          <p:grpSp>
            <p:nvGrpSpPr>
              <p:cNvPr id="1025" name="Ryhmä 1024">
                <a:extLst>
                  <a:ext uri="{FF2B5EF4-FFF2-40B4-BE49-F238E27FC236}">
                    <a16:creationId xmlns:a16="http://schemas.microsoft.com/office/drawing/2014/main" id="{ACC8C321-CD64-A965-D640-FE040FC823E4}"/>
                  </a:ext>
                </a:extLst>
              </p:cNvPr>
              <p:cNvGrpSpPr/>
              <p:nvPr/>
            </p:nvGrpSpPr>
            <p:grpSpPr>
              <a:xfrm>
                <a:off x="4566920" y="1718465"/>
                <a:ext cx="1094682" cy="720000"/>
                <a:chOff x="4065742" y="1507572"/>
                <a:chExt cx="1094682" cy="720000"/>
              </a:xfrm>
            </p:grpSpPr>
            <p:pic>
              <p:nvPicPr>
                <p:cNvPr id="46" name="Kuva 45" descr="Naisen profiili tasaisella täytöllä">
                  <a:extLst>
                    <a:ext uri="{FF2B5EF4-FFF2-40B4-BE49-F238E27FC236}">
                      <a16:creationId xmlns:a16="http://schemas.microsoft.com/office/drawing/2014/main" id="{245E6955-FDF4-4B95-D386-256493240A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7">
                  <a:extLst>
                    <a:ext uri="{96DAC541-7B7A-43D3-8B79-37D633B846F1}">
                      <asvg:svgBlip xmlns:asvg="http://schemas.microsoft.com/office/drawing/2016/SVG/main" r:embed="rId5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16624" y="1507572"/>
                  <a:ext cx="643800" cy="720000"/>
                </a:xfrm>
                <a:prstGeom prst="rect">
                  <a:avLst/>
                </a:prstGeom>
              </p:spPr>
            </p:pic>
            <p:sp>
              <p:nvSpPr>
                <p:cNvPr id="53" name="Ellipsi 52">
                  <a:extLst>
                    <a:ext uri="{FF2B5EF4-FFF2-40B4-BE49-F238E27FC236}">
                      <a16:creationId xmlns:a16="http://schemas.microsoft.com/office/drawing/2014/main" id="{19F065B2-ED3F-3B5B-04B4-46965615E15F}"/>
                    </a:ext>
                  </a:extLst>
                </p:cNvPr>
                <p:cNvSpPr/>
                <p:nvPr/>
              </p:nvSpPr>
              <p:spPr bwMode="auto">
                <a:xfrm>
                  <a:off x="4065742" y="1615503"/>
                  <a:ext cx="504000" cy="504139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45720" rIns="91440" bIns="4572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609600" marR="0" indent="-609600" algn="ctr" defTabSz="914400" rtl="0" eaLnBrk="1" fontAlgn="base" latinLnBrk="0" hangingPunct="1">
                    <a:spcAft>
                      <a:spcPct val="0"/>
                    </a:spcAft>
                    <a:buClrTx/>
                    <a:buSzTx/>
                    <a:buFont typeface="Helvetica" pitchFamily="84" charset="0"/>
                    <a:buNone/>
                    <a:tabLst/>
                  </a:pPr>
                  <a:r>
                    <a:rPr kumimoji="0" lang="fi-FI" sz="3000" b="1" i="0" u="none" strike="noStrike" cap="none" normalizeH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ea typeface="ヒラギノ角ゴ Pro W3" pitchFamily="84" charset="-128"/>
                    </a:rPr>
                    <a:t>€</a:t>
                  </a:r>
                </a:p>
              </p:txBody>
            </p:sp>
          </p:grpSp>
          <p:grpSp>
            <p:nvGrpSpPr>
              <p:cNvPr id="1027" name="Ryhmä 1026">
                <a:extLst>
                  <a:ext uri="{FF2B5EF4-FFF2-40B4-BE49-F238E27FC236}">
                    <a16:creationId xmlns:a16="http://schemas.microsoft.com/office/drawing/2014/main" id="{095DE898-1988-14F6-5F92-2206575CC118}"/>
                  </a:ext>
                </a:extLst>
              </p:cNvPr>
              <p:cNvGrpSpPr/>
              <p:nvPr/>
            </p:nvGrpSpPr>
            <p:grpSpPr>
              <a:xfrm>
                <a:off x="5247640" y="3121763"/>
                <a:ext cx="1100914" cy="720000"/>
                <a:chOff x="4690286" y="3088812"/>
                <a:chExt cx="1100914" cy="720000"/>
              </a:xfrm>
            </p:grpSpPr>
            <p:pic>
              <p:nvPicPr>
                <p:cNvPr id="47" name="Kuva 46" descr="Miehen profiili tasaisella täytöllä">
                  <a:extLst>
                    <a:ext uri="{FF2B5EF4-FFF2-40B4-BE49-F238E27FC236}">
                      <a16:creationId xmlns:a16="http://schemas.microsoft.com/office/drawing/2014/main" id="{E3261B05-81FE-9ADB-A079-E645F0A9AC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9">
                  <a:extLst>
                    <a:ext uri="{96DAC541-7B7A-43D3-8B79-37D633B846F1}">
                      <asvg:svgBlip xmlns:asvg="http://schemas.microsoft.com/office/drawing/2016/SVG/main" r:embed="rId6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47400" y="3088812"/>
                  <a:ext cx="643800" cy="720000"/>
                </a:xfrm>
                <a:prstGeom prst="rect">
                  <a:avLst/>
                </a:prstGeom>
              </p:spPr>
            </p:pic>
            <p:sp>
              <p:nvSpPr>
                <p:cNvPr id="54" name="Ellipsi 53">
                  <a:extLst>
                    <a:ext uri="{FF2B5EF4-FFF2-40B4-BE49-F238E27FC236}">
                      <a16:creationId xmlns:a16="http://schemas.microsoft.com/office/drawing/2014/main" id="{00D6DEEC-F07B-0173-2B7D-9301AFC81C08}"/>
                    </a:ext>
                  </a:extLst>
                </p:cNvPr>
                <p:cNvSpPr/>
                <p:nvPr/>
              </p:nvSpPr>
              <p:spPr bwMode="auto">
                <a:xfrm>
                  <a:off x="4690286" y="3196743"/>
                  <a:ext cx="504000" cy="504139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45720" rIns="91440" bIns="4572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609600" marR="0" indent="-609600" algn="ctr" defTabSz="914400" rtl="0" eaLnBrk="1" fontAlgn="base" latinLnBrk="0" hangingPunct="1">
                    <a:spcAft>
                      <a:spcPct val="0"/>
                    </a:spcAft>
                    <a:buClrTx/>
                    <a:buSzTx/>
                    <a:buFont typeface="Helvetica" pitchFamily="84" charset="0"/>
                    <a:buNone/>
                    <a:tabLst/>
                  </a:pPr>
                  <a:r>
                    <a:rPr kumimoji="0" lang="fi-FI" sz="3000" b="1" i="0" u="none" strike="noStrike" cap="none" normalizeH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ea typeface="ヒラギノ角ゴ Pro W3" pitchFamily="84" charset="-128"/>
                    </a:rPr>
                    <a:t>€</a:t>
                  </a:r>
                </a:p>
              </p:txBody>
            </p:sp>
          </p:grpSp>
          <p:grpSp>
            <p:nvGrpSpPr>
              <p:cNvPr id="1028" name="Ryhmä 1027">
                <a:extLst>
                  <a:ext uri="{FF2B5EF4-FFF2-40B4-BE49-F238E27FC236}">
                    <a16:creationId xmlns:a16="http://schemas.microsoft.com/office/drawing/2014/main" id="{0D62A2EC-B104-3C09-B849-0B18E745AD2C}"/>
                  </a:ext>
                </a:extLst>
              </p:cNvPr>
              <p:cNvGrpSpPr/>
              <p:nvPr/>
            </p:nvGrpSpPr>
            <p:grpSpPr>
              <a:xfrm>
                <a:off x="4566920" y="4425600"/>
                <a:ext cx="1142783" cy="756000"/>
                <a:chOff x="4413817" y="4613406"/>
                <a:chExt cx="1142783" cy="756000"/>
              </a:xfrm>
            </p:grpSpPr>
            <p:pic>
              <p:nvPicPr>
                <p:cNvPr id="48" name="Kuva 47" descr="Koulupoika tasaisella täytöllä">
                  <a:extLst>
                    <a:ext uri="{FF2B5EF4-FFF2-40B4-BE49-F238E27FC236}">
                      <a16:creationId xmlns:a16="http://schemas.microsoft.com/office/drawing/2014/main" id="{431B7ADC-1007-B93E-25E8-7AA4B84B09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1">
                  <a:extLst>
                    <a:ext uri="{96DAC541-7B7A-43D3-8B79-37D633B846F1}">
                      <asvg:svgBlip xmlns:asvg="http://schemas.microsoft.com/office/drawing/2016/SVG/main" r:embed="rId6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00600" y="4613406"/>
                  <a:ext cx="756000" cy="756000"/>
                </a:xfrm>
                <a:prstGeom prst="rect">
                  <a:avLst/>
                </a:prstGeom>
              </p:spPr>
            </p:pic>
            <p:sp>
              <p:nvSpPr>
                <p:cNvPr id="55" name="Ellipsi 54">
                  <a:extLst>
                    <a:ext uri="{FF2B5EF4-FFF2-40B4-BE49-F238E27FC236}">
                      <a16:creationId xmlns:a16="http://schemas.microsoft.com/office/drawing/2014/main" id="{D845219A-AD75-EB79-7CB0-933434A2162C}"/>
                    </a:ext>
                  </a:extLst>
                </p:cNvPr>
                <p:cNvSpPr/>
                <p:nvPr/>
              </p:nvSpPr>
              <p:spPr bwMode="auto">
                <a:xfrm>
                  <a:off x="4413817" y="4739337"/>
                  <a:ext cx="504000" cy="504139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45720" rIns="91440" bIns="4572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609600" marR="0" indent="-609600" algn="ctr" defTabSz="914400" rtl="0" eaLnBrk="1" fontAlgn="base" latinLnBrk="0" hangingPunct="1">
                    <a:spcAft>
                      <a:spcPct val="0"/>
                    </a:spcAft>
                    <a:buClrTx/>
                    <a:buSzTx/>
                    <a:buFont typeface="Helvetica" pitchFamily="84" charset="0"/>
                    <a:buNone/>
                    <a:tabLst/>
                  </a:pPr>
                  <a:r>
                    <a:rPr kumimoji="0" lang="fi-FI" sz="3000" b="1" i="0" u="none" strike="noStrike" cap="none" normalizeH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ea typeface="ヒラギノ角ゴ Pro W3" pitchFamily="84" charset="-128"/>
                    </a:rPr>
                    <a:t>€</a:t>
                  </a:r>
                </a:p>
              </p:txBody>
            </p:sp>
          </p:grpSp>
          <p:cxnSp>
            <p:nvCxnSpPr>
              <p:cNvPr id="59" name="Suora nuoliyhdysviiva 58">
                <a:extLst>
                  <a:ext uri="{FF2B5EF4-FFF2-40B4-BE49-F238E27FC236}">
                    <a16:creationId xmlns:a16="http://schemas.microsoft.com/office/drawing/2014/main" id="{32C8B969-5FF3-7E96-A870-E8FDA99B46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3253000" y="4164008"/>
                <a:ext cx="252200" cy="326494"/>
              </a:xfrm>
              <a:prstGeom prst="straightConnector1">
                <a:avLst/>
              </a:prstGeom>
              <a:solidFill>
                <a:srgbClr val="FFFFFF"/>
              </a:solidFill>
              <a:ln w="508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arrow" w="sm" len="sm"/>
              </a:ln>
              <a:effectLst/>
            </p:spPr>
          </p:cxnSp>
          <p:cxnSp>
            <p:nvCxnSpPr>
              <p:cNvPr id="1030" name="Suora nuoliyhdysviiva 1029">
                <a:extLst>
                  <a:ext uri="{FF2B5EF4-FFF2-40B4-BE49-F238E27FC236}">
                    <a16:creationId xmlns:a16="http://schemas.microsoft.com/office/drawing/2014/main" id="{DC5B6B8F-3D80-4C09-9BDF-5F38EE3325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235104" y="2364576"/>
                <a:ext cx="252200" cy="326494"/>
              </a:xfrm>
              <a:prstGeom prst="straightConnector1">
                <a:avLst/>
              </a:prstGeom>
              <a:solidFill>
                <a:srgbClr val="FFFFFF"/>
              </a:solidFill>
              <a:ln w="508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arrow" w="sm" len="sm"/>
              </a:ln>
              <a:effectLst/>
            </p:spPr>
          </p:cxnSp>
          <p:cxnSp>
            <p:nvCxnSpPr>
              <p:cNvPr id="1031" name="Suora nuoliyhdysviiva 1030">
                <a:extLst>
                  <a:ext uri="{FF2B5EF4-FFF2-40B4-BE49-F238E27FC236}">
                    <a16:creationId xmlns:a16="http://schemas.microsoft.com/office/drawing/2014/main" id="{5BD6AB93-28E5-6274-F041-4C3AF2C7F8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741040" y="3471454"/>
                <a:ext cx="418987" cy="0"/>
              </a:xfrm>
              <a:prstGeom prst="straightConnector1">
                <a:avLst/>
              </a:prstGeom>
              <a:solidFill>
                <a:srgbClr val="FFFFFF"/>
              </a:solidFill>
              <a:ln w="508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arrow" w="sm" len="sm"/>
              </a:ln>
              <a:effectLst/>
            </p:spPr>
          </p:cxnSp>
          <p:cxnSp>
            <p:nvCxnSpPr>
              <p:cNvPr id="1035" name="Suora nuoliyhdysviiva 1034">
                <a:extLst>
                  <a:ext uri="{FF2B5EF4-FFF2-40B4-BE49-F238E27FC236}">
                    <a16:creationId xmlns:a16="http://schemas.microsoft.com/office/drawing/2014/main" id="{D61B7165-1722-290A-E95B-52351A9C46D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 flipV="1">
                <a:off x="4376510" y="4171477"/>
                <a:ext cx="252200" cy="326494"/>
              </a:xfrm>
              <a:prstGeom prst="straightConnector1">
                <a:avLst/>
              </a:prstGeom>
              <a:solidFill>
                <a:srgbClr val="FFFFFF"/>
              </a:solidFill>
              <a:ln w="508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arrow" w="sm" len="sm"/>
              </a:ln>
              <a:effectLst/>
            </p:spPr>
          </p:cxnSp>
          <p:cxnSp>
            <p:nvCxnSpPr>
              <p:cNvPr id="1036" name="Suora nuoliyhdysviiva 1035">
                <a:extLst>
                  <a:ext uri="{FF2B5EF4-FFF2-40B4-BE49-F238E27FC236}">
                    <a16:creationId xmlns:a16="http://schemas.microsoft.com/office/drawing/2014/main" id="{543CB5D5-5660-F9C0-9914-CE4357B538D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358614" y="2372045"/>
                <a:ext cx="252200" cy="326494"/>
              </a:xfrm>
              <a:prstGeom prst="straightConnector1">
                <a:avLst/>
              </a:prstGeom>
              <a:solidFill>
                <a:srgbClr val="FFFFFF"/>
              </a:solidFill>
              <a:ln w="508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arrow" w="sm" len="sm"/>
              </a:ln>
              <a:effectLst/>
            </p:spPr>
          </p:cxnSp>
          <p:cxnSp>
            <p:nvCxnSpPr>
              <p:cNvPr id="1037" name="Suora nuoliyhdysviiva 1036">
                <a:extLst>
                  <a:ext uri="{FF2B5EF4-FFF2-40B4-BE49-F238E27FC236}">
                    <a16:creationId xmlns:a16="http://schemas.microsoft.com/office/drawing/2014/main" id="{2FD3CD58-C2F0-A721-DFDE-A14A076A999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724400" y="3468763"/>
                <a:ext cx="418987" cy="0"/>
              </a:xfrm>
              <a:prstGeom prst="straightConnector1">
                <a:avLst/>
              </a:prstGeom>
              <a:solidFill>
                <a:srgbClr val="FFFFFF"/>
              </a:solidFill>
              <a:ln w="508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arrow" w="sm" len="sm"/>
              </a:ln>
              <a:effectLst/>
            </p:spPr>
          </p:cxnSp>
        </p:grpSp>
        <p:grpSp>
          <p:nvGrpSpPr>
            <p:cNvPr id="1079" name="Ryhmä 1078">
              <a:extLst>
                <a:ext uri="{FF2B5EF4-FFF2-40B4-BE49-F238E27FC236}">
                  <a16:creationId xmlns:a16="http://schemas.microsoft.com/office/drawing/2014/main" id="{415A20BD-8FFD-A3BB-3369-48FB186BBA93}"/>
                </a:ext>
              </a:extLst>
            </p:cNvPr>
            <p:cNvGrpSpPr/>
            <p:nvPr/>
          </p:nvGrpSpPr>
          <p:grpSpPr>
            <a:xfrm>
              <a:off x="2409415" y="4119643"/>
              <a:ext cx="1260000" cy="1260670"/>
              <a:chOff x="2386975" y="6290341"/>
              <a:chExt cx="1260000" cy="1260670"/>
            </a:xfrm>
          </p:grpSpPr>
          <p:pic>
            <p:nvPicPr>
              <p:cNvPr id="1072" name="Kuva 1071" descr="Maapallo: Amerikka tasaisella täytöllä">
                <a:extLst>
                  <a:ext uri="{FF2B5EF4-FFF2-40B4-BE49-F238E27FC236}">
                    <a16:creationId xmlns:a16="http://schemas.microsoft.com/office/drawing/2014/main" id="{713410B4-1B3D-7270-C477-7C68AB7EEA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3">
                <a:extLst>
                  <a:ext uri="{96DAC541-7B7A-43D3-8B79-37D633B846F1}">
                    <asvg:svgBlip xmlns:asvg="http://schemas.microsoft.com/office/drawing/2016/SVG/main" r:embed="rId64"/>
                  </a:ext>
                </a:extLst>
              </a:blip>
              <a:stretch>
                <a:fillRect/>
              </a:stretch>
            </p:blipFill>
            <p:spPr>
              <a:xfrm>
                <a:off x="2386976" y="6290341"/>
                <a:ext cx="1259999" cy="1259999"/>
              </a:xfrm>
              <a:prstGeom prst="rect">
                <a:avLst/>
              </a:prstGeom>
            </p:spPr>
          </p:pic>
          <p:pic>
            <p:nvPicPr>
              <p:cNvPr id="1078" name="Kuva 1077" descr="Maapallo ääriviiva">
                <a:extLst>
                  <a:ext uri="{FF2B5EF4-FFF2-40B4-BE49-F238E27FC236}">
                    <a16:creationId xmlns:a16="http://schemas.microsoft.com/office/drawing/2014/main" id="{49DD9640-4C87-9D98-68E3-C719653F93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5">
                <a:extLst>
                  <a:ext uri="{96DAC541-7B7A-43D3-8B79-37D633B846F1}">
                    <asvg:svgBlip xmlns:asvg="http://schemas.microsoft.com/office/drawing/2016/SVG/main" r:embed="rId66"/>
                  </a:ext>
                </a:extLst>
              </a:blip>
              <a:stretch>
                <a:fillRect/>
              </a:stretch>
            </p:blipFill>
            <p:spPr>
              <a:xfrm>
                <a:off x="2386975" y="6291011"/>
                <a:ext cx="1260000" cy="1260000"/>
              </a:xfrm>
              <a:prstGeom prst="rect">
                <a:avLst/>
              </a:prstGeom>
            </p:spPr>
          </p:pic>
        </p:grpSp>
        <p:sp>
          <p:nvSpPr>
            <p:cNvPr id="1070" name="Tekstiruutu 1069">
              <a:extLst>
                <a:ext uri="{FF2B5EF4-FFF2-40B4-BE49-F238E27FC236}">
                  <a16:creationId xmlns:a16="http://schemas.microsoft.com/office/drawing/2014/main" id="{281E3238-21B4-29A5-171B-3E404D980D9A}"/>
                </a:ext>
              </a:extLst>
            </p:cNvPr>
            <p:cNvSpPr txBox="1"/>
            <p:nvPr/>
          </p:nvSpPr>
          <p:spPr>
            <a:xfrm>
              <a:off x="2447867" y="4419600"/>
              <a:ext cx="11983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i-FI" sz="3600" dirty="0">
                  <a:ln w="19050">
                    <a:solidFill>
                      <a:schemeClr val="tx1"/>
                    </a:solidFill>
                  </a:ln>
                  <a:solidFill>
                    <a:schemeClr val="accent1"/>
                  </a:solidFill>
                  <a:latin typeface="Aptos Black" panose="020B0004020202020204" pitchFamily="34" charset="0"/>
                </a:rPr>
                <a:t>LCIF</a:t>
              </a:r>
            </a:p>
          </p:txBody>
        </p:sp>
        <p:sp>
          <p:nvSpPr>
            <p:cNvPr id="1080" name="Ajatuskupla: Pilvi 1079">
              <a:extLst>
                <a:ext uri="{FF2B5EF4-FFF2-40B4-BE49-F238E27FC236}">
                  <a16:creationId xmlns:a16="http://schemas.microsoft.com/office/drawing/2014/main" id="{788F3C31-63C5-D9EE-9104-F0337D7D79A3}"/>
                </a:ext>
              </a:extLst>
            </p:cNvPr>
            <p:cNvSpPr/>
            <p:nvPr/>
          </p:nvSpPr>
          <p:spPr bwMode="auto">
            <a:xfrm>
              <a:off x="4471725" y="2319626"/>
              <a:ext cx="641477" cy="720000"/>
            </a:xfrm>
            <a:prstGeom prst="cloudCallout">
              <a:avLst>
                <a:gd name="adj1" fmla="val -23244"/>
                <a:gd name="adj2" fmla="val 69556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088" name="Ryhmä 1087">
              <a:extLst>
                <a:ext uri="{FF2B5EF4-FFF2-40B4-BE49-F238E27FC236}">
                  <a16:creationId xmlns:a16="http://schemas.microsoft.com/office/drawing/2014/main" id="{21DA863C-AA79-23D1-28A3-8ED39866D127}"/>
                </a:ext>
              </a:extLst>
            </p:cNvPr>
            <p:cNvGrpSpPr/>
            <p:nvPr/>
          </p:nvGrpSpPr>
          <p:grpSpPr>
            <a:xfrm>
              <a:off x="4547551" y="2466155"/>
              <a:ext cx="421668" cy="426941"/>
              <a:chOff x="2832348" y="1984549"/>
              <a:chExt cx="421668" cy="426941"/>
            </a:xfrm>
          </p:grpSpPr>
          <p:pic>
            <p:nvPicPr>
              <p:cNvPr id="1086" name="Kuva 1085" descr="Maapallo tasaisella täytöllä">
                <a:extLst>
                  <a:ext uri="{FF2B5EF4-FFF2-40B4-BE49-F238E27FC236}">
                    <a16:creationId xmlns:a16="http://schemas.microsoft.com/office/drawing/2014/main" id="{ACC4FAE9-2459-7C23-9EC2-DC3E4247A9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r:embed="rId68"/>
                  </a:ext>
                </a:extLst>
              </a:blip>
              <a:stretch>
                <a:fillRect/>
              </a:stretch>
            </p:blipFill>
            <p:spPr>
              <a:xfrm>
                <a:off x="2832348" y="1989822"/>
                <a:ext cx="421668" cy="421668"/>
              </a:xfrm>
              <a:prstGeom prst="rect">
                <a:avLst/>
              </a:prstGeom>
            </p:spPr>
          </p:pic>
          <p:sp>
            <p:nvSpPr>
              <p:cNvPr id="1087" name="Tekstiruutu 1086">
                <a:extLst>
                  <a:ext uri="{FF2B5EF4-FFF2-40B4-BE49-F238E27FC236}">
                    <a16:creationId xmlns:a16="http://schemas.microsoft.com/office/drawing/2014/main" id="{4EAAE6A5-3B18-84E7-9F7B-05D3E78F1C5E}"/>
                  </a:ext>
                </a:extLst>
              </p:cNvPr>
              <p:cNvSpPr txBox="1"/>
              <p:nvPr/>
            </p:nvSpPr>
            <p:spPr>
              <a:xfrm>
                <a:off x="2849083" y="1984549"/>
                <a:ext cx="366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i-FI" b="1" dirty="0">
                    <a:cs typeface="Arial" panose="020B0604020202020204" pitchFamily="34" charset="0"/>
                  </a:rPr>
                  <a:t>?</a:t>
                </a:r>
              </a:p>
            </p:txBody>
          </p:sp>
        </p:grpSp>
        <p:sp>
          <p:nvSpPr>
            <p:cNvPr id="1089" name="Ajatuskupla: Pilvi 1088">
              <a:extLst>
                <a:ext uri="{FF2B5EF4-FFF2-40B4-BE49-F238E27FC236}">
                  <a16:creationId xmlns:a16="http://schemas.microsoft.com/office/drawing/2014/main" id="{4A47B05A-BA68-C4ED-E498-CC380E620936}"/>
                </a:ext>
              </a:extLst>
            </p:cNvPr>
            <p:cNvSpPr/>
            <p:nvPr/>
          </p:nvSpPr>
          <p:spPr bwMode="auto">
            <a:xfrm>
              <a:off x="4978076" y="3602475"/>
              <a:ext cx="641477" cy="720000"/>
            </a:xfrm>
            <a:prstGeom prst="cloudCallout">
              <a:avLst>
                <a:gd name="adj1" fmla="val -23244"/>
                <a:gd name="adj2" fmla="val 69556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090" name="Ryhmä 1089">
              <a:extLst>
                <a:ext uri="{FF2B5EF4-FFF2-40B4-BE49-F238E27FC236}">
                  <a16:creationId xmlns:a16="http://schemas.microsoft.com/office/drawing/2014/main" id="{851AD911-D206-A6E0-0209-24E8A334969D}"/>
                </a:ext>
              </a:extLst>
            </p:cNvPr>
            <p:cNvGrpSpPr/>
            <p:nvPr/>
          </p:nvGrpSpPr>
          <p:grpSpPr>
            <a:xfrm>
              <a:off x="5053902" y="3749004"/>
              <a:ext cx="421668" cy="426941"/>
              <a:chOff x="2832348" y="1984549"/>
              <a:chExt cx="421668" cy="426941"/>
            </a:xfrm>
          </p:grpSpPr>
          <p:pic>
            <p:nvPicPr>
              <p:cNvPr id="1091" name="Kuva 1090" descr="Maapallo tasaisella täytöllä">
                <a:extLst>
                  <a:ext uri="{FF2B5EF4-FFF2-40B4-BE49-F238E27FC236}">
                    <a16:creationId xmlns:a16="http://schemas.microsoft.com/office/drawing/2014/main" id="{4677D150-7458-5530-B028-869B17958A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r:embed="rId68"/>
                  </a:ext>
                </a:extLst>
              </a:blip>
              <a:stretch>
                <a:fillRect/>
              </a:stretch>
            </p:blipFill>
            <p:spPr>
              <a:xfrm>
                <a:off x="2832348" y="1989822"/>
                <a:ext cx="421668" cy="421668"/>
              </a:xfrm>
              <a:prstGeom prst="rect">
                <a:avLst/>
              </a:prstGeom>
            </p:spPr>
          </p:pic>
          <p:sp>
            <p:nvSpPr>
              <p:cNvPr id="1092" name="Tekstiruutu 1091">
                <a:extLst>
                  <a:ext uri="{FF2B5EF4-FFF2-40B4-BE49-F238E27FC236}">
                    <a16:creationId xmlns:a16="http://schemas.microsoft.com/office/drawing/2014/main" id="{02B095DF-3E5D-8119-0736-49E65CAD7C8C}"/>
                  </a:ext>
                </a:extLst>
              </p:cNvPr>
              <p:cNvSpPr txBox="1"/>
              <p:nvPr/>
            </p:nvSpPr>
            <p:spPr>
              <a:xfrm>
                <a:off x="2849083" y="1984549"/>
                <a:ext cx="366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i-FI" b="1" dirty="0">
                    <a:cs typeface="Arial" panose="020B0604020202020204" pitchFamily="34" charset="0"/>
                  </a:rPr>
                  <a:t>?</a:t>
                </a:r>
              </a:p>
            </p:txBody>
          </p:sp>
        </p:grpSp>
        <p:sp>
          <p:nvSpPr>
            <p:cNvPr id="1093" name="Ajatuskupla: Pilvi 1092">
              <a:extLst>
                <a:ext uri="{FF2B5EF4-FFF2-40B4-BE49-F238E27FC236}">
                  <a16:creationId xmlns:a16="http://schemas.microsoft.com/office/drawing/2014/main" id="{FB7114AB-AD0B-778B-F018-4AA5236DAAAB}"/>
                </a:ext>
              </a:extLst>
            </p:cNvPr>
            <p:cNvSpPr/>
            <p:nvPr/>
          </p:nvSpPr>
          <p:spPr bwMode="auto">
            <a:xfrm>
              <a:off x="4480299" y="5184746"/>
              <a:ext cx="641477" cy="720000"/>
            </a:xfrm>
            <a:prstGeom prst="cloudCallout">
              <a:avLst>
                <a:gd name="adj1" fmla="val -23244"/>
                <a:gd name="adj2" fmla="val 69556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094" name="Ryhmä 1093">
              <a:extLst>
                <a:ext uri="{FF2B5EF4-FFF2-40B4-BE49-F238E27FC236}">
                  <a16:creationId xmlns:a16="http://schemas.microsoft.com/office/drawing/2014/main" id="{AA432386-B5CB-9F32-7A19-88D33A4AFDE0}"/>
                </a:ext>
              </a:extLst>
            </p:cNvPr>
            <p:cNvGrpSpPr/>
            <p:nvPr/>
          </p:nvGrpSpPr>
          <p:grpSpPr>
            <a:xfrm>
              <a:off x="4556125" y="5331275"/>
              <a:ext cx="421668" cy="426941"/>
              <a:chOff x="2832348" y="1984549"/>
              <a:chExt cx="421668" cy="426941"/>
            </a:xfrm>
          </p:grpSpPr>
          <p:pic>
            <p:nvPicPr>
              <p:cNvPr id="1095" name="Kuva 1094" descr="Maapallo tasaisella täytöllä">
                <a:extLst>
                  <a:ext uri="{FF2B5EF4-FFF2-40B4-BE49-F238E27FC236}">
                    <a16:creationId xmlns:a16="http://schemas.microsoft.com/office/drawing/2014/main" id="{BC027D67-1A20-4FC3-40A4-9887A73A96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r:embed="rId68"/>
                  </a:ext>
                </a:extLst>
              </a:blip>
              <a:stretch>
                <a:fillRect/>
              </a:stretch>
            </p:blipFill>
            <p:spPr>
              <a:xfrm>
                <a:off x="2832348" y="1989822"/>
                <a:ext cx="421668" cy="421668"/>
              </a:xfrm>
              <a:prstGeom prst="rect">
                <a:avLst/>
              </a:prstGeom>
            </p:spPr>
          </p:pic>
          <p:sp>
            <p:nvSpPr>
              <p:cNvPr id="1096" name="Tekstiruutu 1095">
                <a:extLst>
                  <a:ext uri="{FF2B5EF4-FFF2-40B4-BE49-F238E27FC236}">
                    <a16:creationId xmlns:a16="http://schemas.microsoft.com/office/drawing/2014/main" id="{50191A6F-94E5-B0C2-60D1-A494D9D5A3D0}"/>
                  </a:ext>
                </a:extLst>
              </p:cNvPr>
              <p:cNvSpPr txBox="1"/>
              <p:nvPr/>
            </p:nvSpPr>
            <p:spPr>
              <a:xfrm>
                <a:off x="2849083" y="1984549"/>
                <a:ext cx="366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i-FI" b="1" dirty="0">
                    <a:cs typeface="Arial" panose="020B0604020202020204" pitchFamily="34" charset="0"/>
                  </a:rPr>
                  <a:t>?</a:t>
                </a:r>
              </a:p>
            </p:txBody>
          </p:sp>
        </p:grpSp>
        <p:sp>
          <p:nvSpPr>
            <p:cNvPr id="1097" name="Ajatuskupla: Pilvi 1096">
              <a:extLst>
                <a:ext uri="{FF2B5EF4-FFF2-40B4-BE49-F238E27FC236}">
                  <a16:creationId xmlns:a16="http://schemas.microsoft.com/office/drawing/2014/main" id="{04AAB261-3AFD-BD19-3F5F-9C7DFA39C2DD}"/>
                </a:ext>
              </a:extLst>
            </p:cNvPr>
            <p:cNvSpPr/>
            <p:nvPr/>
          </p:nvSpPr>
          <p:spPr bwMode="auto">
            <a:xfrm>
              <a:off x="876587" y="2364661"/>
              <a:ext cx="641477" cy="720000"/>
            </a:xfrm>
            <a:prstGeom prst="cloudCallout">
              <a:avLst>
                <a:gd name="adj1" fmla="val 29815"/>
                <a:gd name="adj2" fmla="val 66028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098" name="Ryhmä 1097">
              <a:extLst>
                <a:ext uri="{FF2B5EF4-FFF2-40B4-BE49-F238E27FC236}">
                  <a16:creationId xmlns:a16="http://schemas.microsoft.com/office/drawing/2014/main" id="{7094DBB6-EACB-D69E-DC3E-FDEFD786FC1F}"/>
                </a:ext>
              </a:extLst>
            </p:cNvPr>
            <p:cNvGrpSpPr/>
            <p:nvPr/>
          </p:nvGrpSpPr>
          <p:grpSpPr>
            <a:xfrm>
              <a:off x="952413" y="2511190"/>
              <a:ext cx="421668" cy="426941"/>
              <a:chOff x="2832348" y="1984549"/>
              <a:chExt cx="421668" cy="426941"/>
            </a:xfrm>
          </p:grpSpPr>
          <p:pic>
            <p:nvPicPr>
              <p:cNvPr id="1099" name="Kuva 1098" descr="Maapallo tasaisella täytöllä">
                <a:extLst>
                  <a:ext uri="{FF2B5EF4-FFF2-40B4-BE49-F238E27FC236}">
                    <a16:creationId xmlns:a16="http://schemas.microsoft.com/office/drawing/2014/main" id="{71DA2669-CB77-3C65-2C7B-B9D47DDA98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r:embed="rId68"/>
                  </a:ext>
                </a:extLst>
              </a:blip>
              <a:stretch>
                <a:fillRect/>
              </a:stretch>
            </p:blipFill>
            <p:spPr>
              <a:xfrm>
                <a:off x="2832348" y="1989822"/>
                <a:ext cx="421668" cy="421668"/>
              </a:xfrm>
              <a:prstGeom prst="rect">
                <a:avLst/>
              </a:prstGeom>
            </p:spPr>
          </p:pic>
          <p:sp>
            <p:nvSpPr>
              <p:cNvPr id="1100" name="Tekstiruutu 1099">
                <a:extLst>
                  <a:ext uri="{FF2B5EF4-FFF2-40B4-BE49-F238E27FC236}">
                    <a16:creationId xmlns:a16="http://schemas.microsoft.com/office/drawing/2014/main" id="{E05B24BD-3100-EE45-3899-3F096E1CC53E}"/>
                  </a:ext>
                </a:extLst>
              </p:cNvPr>
              <p:cNvSpPr txBox="1"/>
              <p:nvPr/>
            </p:nvSpPr>
            <p:spPr>
              <a:xfrm>
                <a:off x="2849083" y="1984549"/>
                <a:ext cx="366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i-FI" b="1" dirty="0">
                    <a:cs typeface="Arial" panose="020B0604020202020204" pitchFamily="34" charset="0"/>
                  </a:rPr>
                  <a:t>?</a:t>
                </a:r>
              </a:p>
            </p:txBody>
          </p:sp>
        </p:grpSp>
        <p:sp>
          <p:nvSpPr>
            <p:cNvPr id="1101" name="Ajatuskupla: Pilvi 1100">
              <a:extLst>
                <a:ext uri="{FF2B5EF4-FFF2-40B4-BE49-F238E27FC236}">
                  <a16:creationId xmlns:a16="http://schemas.microsoft.com/office/drawing/2014/main" id="{E43A48C4-54E7-F1FB-37EE-BC57E76B6190}"/>
                </a:ext>
              </a:extLst>
            </p:cNvPr>
            <p:cNvSpPr/>
            <p:nvPr/>
          </p:nvSpPr>
          <p:spPr bwMode="auto">
            <a:xfrm>
              <a:off x="370941" y="3642273"/>
              <a:ext cx="641477" cy="720000"/>
            </a:xfrm>
            <a:prstGeom prst="cloudCallout">
              <a:avLst>
                <a:gd name="adj1" fmla="val 29815"/>
                <a:gd name="adj2" fmla="val 66028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102" name="Ryhmä 1101">
              <a:extLst>
                <a:ext uri="{FF2B5EF4-FFF2-40B4-BE49-F238E27FC236}">
                  <a16:creationId xmlns:a16="http://schemas.microsoft.com/office/drawing/2014/main" id="{42E96672-B0C3-F9DA-95D4-FA75B5E744ED}"/>
                </a:ext>
              </a:extLst>
            </p:cNvPr>
            <p:cNvGrpSpPr/>
            <p:nvPr/>
          </p:nvGrpSpPr>
          <p:grpSpPr>
            <a:xfrm>
              <a:off x="446767" y="3788802"/>
              <a:ext cx="421668" cy="426941"/>
              <a:chOff x="2832348" y="1984549"/>
              <a:chExt cx="421668" cy="426941"/>
            </a:xfrm>
          </p:grpSpPr>
          <p:pic>
            <p:nvPicPr>
              <p:cNvPr id="1103" name="Kuva 1102" descr="Maapallo tasaisella täytöllä">
                <a:extLst>
                  <a:ext uri="{FF2B5EF4-FFF2-40B4-BE49-F238E27FC236}">
                    <a16:creationId xmlns:a16="http://schemas.microsoft.com/office/drawing/2014/main" id="{5EBBBECF-7A33-3C09-C19C-7A7BF8CD49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r:embed="rId68"/>
                  </a:ext>
                </a:extLst>
              </a:blip>
              <a:stretch>
                <a:fillRect/>
              </a:stretch>
            </p:blipFill>
            <p:spPr>
              <a:xfrm>
                <a:off x="2832348" y="1989822"/>
                <a:ext cx="421668" cy="421668"/>
              </a:xfrm>
              <a:prstGeom prst="rect">
                <a:avLst/>
              </a:prstGeom>
            </p:spPr>
          </p:pic>
          <p:sp>
            <p:nvSpPr>
              <p:cNvPr id="1104" name="Tekstiruutu 1103">
                <a:extLst>
                  <a:ext uri="{FF2B5EF4-FFF2-40B4-BE49-F238E27FC236}">
                    <a16:creationId xmlns:a16="http://schemas.microsoft.com/office/drawing/2014/main" id="{9C9BF028-8583-A732-083F-760EE7E19647}"/>
                  </a:ext>
                </a:extLst>
              </p:cNvPr>
              <p:cNvSpPr txBox="1"/>
              <p:nvPr/>
            </p:nvSpPr>
            <p:spPr>
              <a:xfrm>
                <a:off x="2849083" y="1984549"/>
                <a:ext cx="366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i-FI" b="1" dirty="0">
                    <a:cs typeface="Arial" panose="020B0604020202020204" pitchFamily="34" charset="0"/>
                  </a:rPr>
                  <a:t>?</a:t>
                </a:r>
              </a:p>
            </p:txBody>
          </p:sp>
        </p:grpSp>
        <p:sp>
          <p:nvSpPr>
            <p:cNvPr id="1105" name="Ajatuskupla: Pilvi 1104">
              <a:extLst>
                <a:ext uri="{FF2B5EF4-FFF2-40B4-BE49-F238E27FC236}">
                  <a16:creationId xmlns:a16="http://schemas.microsoft.com/office/drawing/2014/main" id="{D9C96E8A-BF7F-4C14-6E80-BBD53C3D70CC}"/>
                </a:ext>
              </a:extLst>
            </p:cNvPr>
            <p:cNvSpPr/>
            <p:nvPr/>
          </p:nvSpPr>
          <p:spPr bwMode="auto">
            <a:xfrm>
              <a:off x="876587" y="5184746"/>
              <a:ext cx="641477" cy="720000"/>
            </a:xfrm>
            <a:prstGeom prst="cloudCallout">
              <a:avLst>
                <a:gd name="adj1" fmla="val 29815"/>
                <a:gd name="adj2" fmla="val 66028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106" name="Ryhmä 1105">
              <a:extLst>
                <a:ext uri="{FF2B5EF4-FFF2-40B4-BE49-F238E27FC236}">
                  <a16:creationId xmlns:a16="http://schemas.microsoft.com/office/drawing/2014/main" id="{415826AC-6360-544C-D42D-0CF0C3A5C1CC}"/>
                </a:ext>
              </a:extLst>
            </p:cNvPr>
            <p:cNvGrpSpPr/>
            <p:nvPr/>
          </p:nvGrpSpPr>
          <p:grpSpPr>
            <a:xfrm>
              <a:off x="952413" y="5331275"/>
              <a:ext cx="421668" cy="426941"/>
              <a:chOff x="2832348" y="1984549"/>
              <a:chExt cx="421668" cy="426941"/>
            </a:xfrm>
          </p:grpSpPr>
          <p:pic>
            <p:nvPicPr>
              <p:cNvPr id="1107" name="Kuva 1106" descr="Maapallo tasaisella täytöllä">
                <a:extLst>
                  <a:ext uri="{FF2B5EF4-FFF2-40B4-BE49-F238E27FC236}">
                    <a16:creationId xmlns:a16="http://schemas.microsoft.com/office/drawing/2014/main" id="{A883E011-54D1-1B3C-4ED9-D05276A888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r:embed="rId68"/>
                  </a:ext>
                </a:extLst>
              </a:blip>
              <a:stretch>
                <a:fillRect/>
              </a:stretch>
            </p:blipFill>
            <p:spPr>
              <a:xfrm>
                <a:off x="2832348" y="1989822"/>
                <a:ext cx="421668" cy="421668"/>
              </a:xfrm>
              <a:prstGeom prst="rect">
                <a:avLst/>
              </a:prstGeom>
            </p:spPr>
          </p:pic>
          <p:sp>
            <p:nvSpPr>
              <p:cNvPr id="1108" name="Tekstiruutu 1107">
                <a:extLst>
                  <a:ext uri="{FF2B5EF4-FFF2-40B4-BE49-F238E27FC236}">
                    <a16:creationId xmlns:a16="http://schemas.microsoft.com/office/drawing/2014/main" id="{C57C33BE-F647-5F99-E4D1-5229A606DFE2}"/>
                  </a:ext>
                </a:extLst>
              </p:cNvPr>
              <p:cNvSpPr txBox="1"/>
              <p:nvPr/>
            </p:nvSpPr>
            <p:spPr>
              <a:xfrm>
                <a:off x="2849083" y="1984549"/>
                <a:ext cx="366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i-FI" b="1" dirty="0">
                    <a:cs typeface="Arial" panose="020B0604020202020204" pitchFamily="34" charset="0"/>
                  </a:rPr>
                  <a:t>?</a:t>
                </a:r>
              </a:p>
            </p:txBody>
          </p:sp>
        </p:grpSp>
      </p:grpSp>
      <p:cxnSp>
        <p:nvCxnSpPr>
          <p:cNvPr id="1110" name="Suora yhdysviiva 1109">
            <a:extLst>
              <a:ext uri="{FF2B5EF4-FFF2-40B4-BE49-F238E27FC236}">
                <a16:creationId xmlns:a16="http://schemas.microsoft.com/office/drawing/2014/main" id="{F0D95968-6ACF-544C-4E70-44CA38B2FB76}"/>
              </a:ext>
            </a:extLst>
          </p:cNvPr>
          <p:cNvCxnSpPr/>
          <p:nvPr/>
        </p:nvCxnSpPr>
        <p:spPr bwMode="auto">
          <a:xfrm>
            <a:off x="6096000" y="2319626"/>
            <a:ext cx="0" cy="4309774"/>
          </a:xfrm>
          <a:prstGeom prst="line">
            <a:avLst/>
          </a:prstGeom>
          <a:solidFill>
            <a:srgbClr val="FFFFFF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12" name="Kuva 1111" descr="Hoito tasaisella täytöllä">
            <a:extLst>
              <a:ext uri="{FF2B5EF4-FFF2-40B4-BE49-F238E27FC236}">
                <a16:creationId xmlns:a16="http://schemas.microsoft.com/office/drawing/2014/main" id="{FA177EC5-86BF-CA11-4B2A-3812BA36389C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9051119" y="-1358876"/>
            <a:ext cx="914400" cy="914400"/>
          </a:xfrm>
          <a:prstGeom prst="rect">
            <a:avLst/>
          </a:prstGeom>
        </p:spPr>
      </p:pic>
      <p:pic>
        <p:nvPicPr>
          <p:cNvPr id="1114" name="Kuva 1113" descr="Ensiapu ääriviiva">
            <a:extLst>
              <a:ext uri="{FF2B5EF4-FFF2-40B4-BE49-F238E27FC236}">
                <a16:creationId xmlns:a16="http://schemas.microsoft.com/office/drawing/2014/main" id="{A96E6988-46A6-2803-4372-E9C695453007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0282820" y="-1200061"/>
            <a:ext cx="914400" cy="914400"/>
          </a:xfrm>
          <a:prstGeom prst="rect">
            <a:avLst/>
          </a:prstGeom>
        </p:spPr>
      </p:pic>
      <p:pic>
        <p:nvPicPr>
          <p:cNvPr id="1116" name="Kuva 1115" descr="Ensiapu tasaisella täytöllä">
            <a:extLst>
              <a:ext uri="{FF2B5EF4-FFF2-40B4-BE49-F238E27FC236}">
                <a16:creationId xmlns:a16="http://schemas.microsoft.com/office/drawing/2014/main" id="{7B6782B2-9AC5-40CC-AB07-E51CAA1AE569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1407378" y="-1061721"/>
            <a:ext cx="914400" cy="914400"/>
          </a:xfrm>
          <a:prstGeom prst="rect">
            <a:avLst/>
          </a:prstGeom>
        </p:spPr>
      </p:pic>
      <p:sp>
        <p:nvSpPr>
          <p:cNvPr id="1160" name="Tekstiruutu 1159">
            <a:extLst>
              <a:ext uri="{FF2B5EF4-FFF2-40B4-BE49-F238E27FC236}">
                <a16:creationId xmlns:a16="http://schemas.microsoft.com/office/drawing/2014/main" id="{2FF8096D-882D-3F7B-328C-758760E804F2}"/>
              </a:ext>
            </a:extLst>
          </p:cNvPr>
          <p:cNvSpPr txBox="1"/>
          <p:nvPr/>
        </p:nvSpPr>
        <p:spPr>
          <a:xfrm>
            <a:off x="910245" y="765088"/>
            <a:ext cx="10890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3600" b="1" dirty="0" err="1">
                <a:solidFill>
                  <a:schemeClr val="bg1"/>
                </a:solidFill>
              </a:rPr>
              <a:t>From</a:t>
            </a:r>
            <a:r>
              <a:rPr lang="fi-FI" sz="3600" b="1" dirty="0">
                <a:solidFill>
                  <a:schemeClr val="bg1"/>
                </a:solidFill>
              </a:rPr>
              <a:t> </a:t>
            </a:r>
            <a:r>
              <a:rPr lang="fi-FI" sz="3600" b="1" dirty="0" err="1">
                <a:solidFill>
                  <a:schemeClr val="bg1"/>
                </a:solidFill>
              </a:rPr>
              <a:t>generic</a:t>
            </a:r>
            <a:r>
              <a:rPr lang="fi-FI" sz="3600" b="1" dirty="0">
                <a:solidFill>
                  <a:schemeClr val="bg1"/>
                </a:solidFill>
              </a:rPr>
              <a:t> </a:t>
            </a:r>
            <a:r>
              <a:rPr lang="fi-FI" sz="3600" b="1" dirty="0" err="1">
                <a:solidFill>
                  <a:schemeClr val="bg1"/>
                </a:solidFill>
              </a:rPr>
              <a:t>cause</a:t>
            </a:r>
            <a:r>
              <a:rPr lang="fi-FI" sz="3600" b="1" dirty="0">
                <a:solidFill>
                  <a:schemeClr val="bg1"/>
                </a:solidFill>
              </a:rPr>
              <a:t> </a:t>
            </a:r>
            <a:r>
              <a:rPr lang="fi-FI" sz="3600" b="1" dirty="0" err="1">
                <a:solidFill>
                  <a:schemeClr val="bg1"/>
                </a:solidFill>
              </a:rPr>
              <a:t>donations</a:t>
            </a:r>
            <a:r>
              <a:rPr lang="fi-FI" sz="3600" b="1" dirty="0">
                <a:solidFill>
                  <a:schemeClr val="bg1"/>
                </a:solidFill>
              </a:rPr>
              <a:t> </a:t>
            </a:r>
            <a:br>
              <a:rPr lang="fi-FI" sz="3600" b="1" dirty="0">
                <a:solidFill>
                  <a:schemeClr val="bg1"/>
                </a:solidFill>
              </a:rPr>
            </a:br>
            <a:r>
              <a:rPr lang="fi-FI" sz="3600" b="1" dirty="0">
                <a:solidFill>
                  <a:schemeClr val="bg1"/>
                </a:solidFill>
              </a:rPr>
              <a:t>to </a:t>
            </a:r>
            <a:r>
              <a:rPr lang="fi-FI" sz="3600" b="1" dirty="0" err="1">
                <a:solidFill>
                  <a:schemeClr val="bg1"/>
                </a:solidFill>
              </a:rPr>
              <a:t>crowdfunding</a:t>
            </a:r>
            <a:r>
              <a:rPr lang="fi-FI" sz="3600" b="1" dirty="0">
                <a:solidFill>
                  <a:schemeClr val="bg1"/>
                </a:solidFill>
              </a:rPr>
              <a:t> of </a:t>
            </a:r>
            <a:r>
              <a:rPr lang="fi-FI" sz="3600" b="1" dirty="0" err="1">
                <a:solidFill>
                  <a:schemeClr val="bg1"/>
                </a:solidFill>
              </a:rPr>
              <a:t>productized</a:t>
            </a:r>
            <a:r>
              <a:rPr lang="fi-FI" sz="3600" b="1" dirty="0">
                <a:solidFill>
                  <a:schemeClr val="bg1"/>
                </a:solidFill>
              </a:rPr>
              <a:t> </a:t>
            </a:r>
            <a:r>
              <a:rPr lang="fi-FI" sz="3600" b="1" dirty="0" err="1">
                <a:solidFill>
                  <a:schemeClr val="bg1"/>
                </a:solidFill>
              </a:rPr>
              <a:t>projects</a:t>
            </a:r>
            <a:endParaRPr lang="fi-FI" sz="3600" b="1" dirty="0">
              <a:solidFill>
                <a:schemeClr val="bg1"/>
              </a:solidFill>
            </a:endParaRPr>
          </a:p>
        </p:txBody>
      </p:sp>
      <p:grpSp>
        <p:nvGrpSpPr>
          <p:cNvPr id="1164" name="Ryhmä 1163">
            <a:extLst>
              <a:ext uri="{FF2B5EF4-FFF2-40B4-BE49-F238E27FC236}">
                <a16:creationId xmlns:a16="http://schemas.microsoft.com/office/drawing/2014/main" id="{583B66D2-1D4A-815E-24C8-07860724FE9A}"/>
              </a:ext>
            </a:extLst>
          </p:cNvPr>
          <p:cNvGrpSpPr/>
          <p:nvPr/>
        </p:nvGrpSpPr>
        <p:grpSpPr>
          <a:xfrm>
            <a:off x="6433402" y="2353629"/>
            <a:ext cx="5387657" cy="4142215"/>
            <a:chOff x="6431485" y="2360547"/>
            <a:chExt cx="5387657" cy="4142215"/>
          </a:xfrm>
        </p:grpSpPr>
        <p:grpSp>
          <p:nvGrpSpPr>
            <p:cNvPr id="1040" name="Piggy Bank">
              <a:extLst>
                <a:ext uri="{FF2B5EF4-FFF2-40B4-BE49-F238E27FC236}">
                  <a16:creationId xmlns:a16="http://schemas.microsoft.com/office/drawing/2014/main" id="{F55FA45F-8B5B-26EC-7D47-9E0A0D706F99}"/>
                </a:ext>
              </a:extLst>
            </p:cNvPr>
            <p:cNvGrpSpPr/>
            <p:nvPr/>
          </p:nvGrpSpPr>
          <p:grpSpPr>
            <a:xfrm>
              <a:off x="8666774" y="4267200"/>
              <a:ext cx="924266" cy="659701"/>
              <a:chOff x="4818210" y="3086196"/>
              <a:chExt cx="1087624" cy="776299"/>
            </a:xfrm>
          </p:grpSpPr>
          <p:grpSp>
            <p:nvGrpSpPr>
              <p:cNvPr id="1066" name="Ryhmä 1065">
                <a:extLst>
                  <a:ext uri="{FF2B5EF4-FFF2-40B4-BE49-F238E27FC236}">
                    <a16:creationId xmlns:a16="http://schemas.microsoft.com/office/drawing/2014/main" id="{D5AD1C41-D640-7295-709A-30745C523C42}"/>
                  </a:ext>
                </a:extLst>
              </p:cNvPr>
              <p:cNvGrpSpPr/>
              <p:nvPr/>
            </p:nvGrpSpPr>
            <p:grpSpPr>
              <a:xfrm>
                <a:off x="4818210" y="3086196"/>
                <a:ext cx="1087624" cy="776299"/>
                <a:chOff x="4510800" y="1768442"/>
                <a:chExt cx="1087624" cy="776299"/>
              </a:xfrm>
              <a:solidFill>
                <a:schemeClr val="accent1"/>
              </a:solidFill>
            </p:grpSpPr>
            <p:pic>
              <p:nvPicPr>
                <p:cNvPr id="1068" name="Kuva 1067" descr="Säästöpossu tasaisella täytöllä">
                  <a:extLst>
                    <a:ext uri="{FF2B5EF4-FFF2-40B4-BE49-F238E27FC236}">
                      <a16:creationId xmlns:a16="http://schemas.microsoft.com/office/drawing/2014/main" id="{75E4F067-DB2E-C14E-E670-F8EC4740D6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5">
                  <a:extLst>
                    <a:ext uri="{96DAC541-7B7A-43D3-8B79-37D633B846F1}">
                      <asvg:svgBlip xmlns:asvg="http://schemas.microsoft.com/office/drawing/2016/SVG/main" r:embed="rId76"/>
                    </a:ext>
                  </a:extLst>
                </a:blip>
                <a:srcRect t="15180" b="13445"/>
                <a:stretch/>
              </p:blipFill>
              <p:spPr>
                <a:xfrm>
                  <a:off x="4510800" y="1768442"/>
                  <a:ext cx="1087624" cy="776299"/>
                </a:xfrm>
                <a:prstGeom prst="rect">
                  <a:avLst/>
                </a:prstGeom>
              </p:spPr>
            </p:pic>
            <p:pic>
              <p:nvPicPr>
                <p:cNvPr id="1069" name="Picture 6">
                  <a:extLst>
                    <a:ext uri="{FF2B5EF4-FFF2-40B4-BE49-F238E27FC236}">
                      <a16:creationId xmlns:a16="http://schemas.microsoft.com/office/drawing/2014/main" id="{31D3D24C-AC35-32EF-286B-C4C4999507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4797616" y="1996732"/>
                  <a:ext cx="416601" cy="395771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pic>
            <p:nvPicPr>
              <p:cNvPr id="1067" name="Kuva 1066" descr="Kuva, joka sisältää kohteen musta, pimeys&#10;&#10;Kuvaus luotu automaattisesti">
                <a:extLst>
                  <a:ext uri="{FF2B5EF4-FFF2-40B4-BE49-F238E27FC236}">
                    <a16:creationId xmlns:a16="http://schemas.microsoft.com/office/drawing/2014/main" id="{1625DFE8-AA75-5E41-ACF4-A89E13472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13117" y="3321981"/>
                <a:ext cx="399814" cy="378267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1041" name="Ellipsi 1040">
              <a:extLst>
                <a:ext uri="{FF2B5EF4-FFF2-40B4-BE49-F238E27FC236}">
                  <a16:creationId xmlns:a16="http://schemas.microsoft.com/office/drawing/2014/main" id="{D9DD9993-99D6-AA7B-E604-B692F3675C74}"/>
                </a:ext>
              </a:extLst>
            </p:cNvPr>
            <p:cNvSpPr/>
            <p:nvPr/>
          </p:nvSpPr>
          <p:spPr bwMode="auto">
            <a:xfrm>
              <a:off x="8472256" y="4120162"/>
              <a:ext cx="1260000" cy="1260000"/>
            </a:xfrm>
            <a:prstGeom prst="ellipse">
              <a:avLst/>
            </a:prstGeom>
            <a:noFill/>
            <a:ln w="762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609600" marR="0" indent="-609600" algn="ctr" defTabSz="914400" rtl="0" eaLnBrk="1" fontAlgn="base" latinLnBrk="0" hangingPunct="1">
                <a:spcAft>
                  <a:spcPct val="0"/>
                </a:spcAft>
                <a:buClrTx/>
                <a:buSzTx/>
                <a:buFont typeface="Helvetica" pitchFamily="84" charset="0"/>
                <a:buNone/>
                <a:tabLst/>
              </a:pPr>
              <a:endParaRPr kumimoji="0" lang="fi-FI" sz="3000" b="0" i="0" u="none" strike="noStrike" cap="none" normalizeH="0" dirty="0" err="1">
                <a:ln>
                  <a:noFill/>
                </a:ln>
                <a:solidFill>
                  <a:srgbClr val="404040"/>
                </a:solidFill>
                <a:effectLst/>
                <a:ea typeface="ヒラギノ角ゴ Pro W3" pitchFamily="84" charset="-128"/>
              </a:endParaRPr>
            </a:p>
          </p:txBody>
        </p:sp>
        <p:grpSp>
          <p:nvGrpSpPr>
            <p:cNvPr id="1042" name="Ryhmä 1041">
              <a:extLst>
                <a:ext uri="{FF2B5EF4-FFF2-40B4-BE49-F238E27FC236}">
                  <a16:creationId xmlns:a16="http://schemas.microsoft.com/office/drawing/2014/main" id="{D3453A53-B8B1-39DD-6F99-862D904D48FC}"/>
                </a:ext>
              </a:extLst>
            </p:cNvPr>
            <p:cNvGrpSpPr/>
            <p:nvPr/>
          </p:nvGrpSpPr>
          <p:grpSpPr>
            <a:xfrm>
              <a:off x="7286594" y="5746762"/>
              <a:ext cx="1167368" cy="720000"/>
              <a:chOff x="2175600" y="4525060"/>
              <a:chExt cx="1167368" cy="720000"/>
            </a:xfrm>
          </p:grpSpPr>
          <p:pic>
            <p:nvPicPr>
              <p:cNvPr id="1064" name="Kuva 1063" descr="Toimisto työntekijä mies tasaisella täytöllä">
                <a:extLst>
                  <a:ext uri="{FF2B5EF4-FFF2-40B4-BE49-F238E27FC236}">
                    <a16:creationId xmlns:a16="http://schemas.microsoft.com/office/drawing/2014/main" id="{151DA942-7E76-96C1-DE8C-B52EC43FF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>
                <a:extLst>
                  <a:ext uri="{96DAC541-7B7A-43D3-8B79-37D633B846F1}">
                    <asvg:svgBlip xmlns:asvg="http://schemas.microsoft.com/office/drawing/2016/SVG/main" r:embed="rId52"/>
                  </a:ext>
                </a:extLst>
              </a:blip>
              <a:stretch>
                <a:fillRect/>
              </a:stretch>
            </p:blipFill>
            <p:spPr>
              <a:xfrm>
                <a:off x="2175600" y="452506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065" name="Ellipsi 1064">
                <a:extLst>
                  <a:ext uri="{FF2B5EF4-FFF2-40B4-BE49-F238E27FC236}">
                    <a16:creationId xmlns:a16="http://schemas.microsoft.com/office/drawing/2014/main" id="{03BE7D63-F5C0-37C7-01E7-0EB7692A5C9B}"/>
                  </a:ext>
                </a:extLst>
              </p:cNvPr>
              <p:cNvSpPr/>
              <p:nvPr/>
            </p:nvSpPr>
            <p:spPr bwMode="auto">
              <a:xfrm>
                <a:off x="2838968" y="4632991"/>
                <a:ext cx="504000" cy="50413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1" i="0" u="none" strike="noStrike" cap="none" normalizeH="0" dirty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 W3" pitchFamily="84" charset="-128"/>
                </a:endParaRPr>
              </a:p>
            </p:txBody>
          </p:sp>
        </p:grpSp>
        <p:grpSp>
          <p:nvGrpSpPr>
            <p:cNvPr id="1043" name="Ryhmä 1042">
              <a:extLst>
                <a:ext uri="{FF2B5EF4-FFF2-40B4-BE49-F238E27FC236}">
                  <a16:creationId xmlns:a16="http://schemas.microsoft.com/office/drawing/2014/main" id="{739B640D-C820-83EA-1039-0324BDE66591}"/>
                </a:ext>
              </a:extLst>
            </p:cNvPr>
            <p:cNvGrpSpPr/>
            <p:nvPr/>
          </p:nvGrpSpPr>
          <p:grpSpPr>
            <a:xfrm>
              <a:off x="6702442" y="4442924"/>
              <a:ext cx="1119494" cy="720000"/>
              <a:chOff x="1642814" y="3170250"/>
              <a:chExt cx="1119494" cy="720000"/>
            </a:xfrm>
          </p:grpSpPr>
          <p:pic>
            <p:nvPicPr>
              <p:cNvPr id="1062" name="Kuva 1061" descr="Naisen profiili tasaisella täytöllä">
                <a:extLst>
                  <a:ext uri="{FF2B5EF4-FFF2-40B4-BE49-F238E27FC236}">
                    <a16:creationId xmlns:a16="http://schemas.microsoft.com/office/drawing/2014/main" id="{B700B2B1-CC98-BBE1-CCD4-A1D36F699B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>
                <a:extLst>
                  <a:ext uri="{96DAC541-7B7A-43D3-8B79-37D633B846F1}">
                    <asvg:svgBlip xmlns:asvg="http://schemas.microsoft.com/office/drawing/2016/SVG/main" r:embed="rId54"/>
                  </a:ext>
                </a:extLst>
              </a:blip>
              <a:stretch>
                <a:fillRect/>
              </a:stretch>
            </p:blipFill>
            <p:spPr>
              <a:xfrm flipH="1">
                <a:off x="1642814" y="3170250"/>
                <a:ext cx="656200" cy="720000"/>
              </a:xfrm>
              <a:prstGeom prst="rect">
                <a:avLst/>
              </a:prstGeom>
            </p:spPr>
          </p:pic>
          <p:sp>
            <p:nvSpPr>
              <p:cNvPr id="1063" name="Ellipsi 1062">
                <a:extLst>
                  <a:ext uri="{FF2B5EF4-FFF2-40B4-BE49-F238E27FC236}">
                    <a16:creationId xmlns:a16="http://schemas.microsoft.com/office/drawing/2014/main" id="{C343CE3B-102A-7522-918B-251A11819474}"/>
                  </a:ext>
                </a:extLst>
              </p:cNvPr>
              <p:cNvSpPr/>
              <p:nvPr/>
            </p:nvSpPr>
            <p:spPr bwMode="auto">
              <a:xfrm>
                <a:off x="2258308" y="3278181"/>
                <a:ext cx="504000" cy="50413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1" i="0" u="none" strike="noStrike" cap="none" normalizeH="0" dirty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 W3" pitchFamily="84" charset="-128"/>
                </a:endParaRPr>
              </a:p>
            </p:txBody>
          </p:sp>
        </p:grpSp>
        <p:grpSp>
          <p:nvGrpSpPr>
            <p:cNvPr id="1044" name="Ryhmä 1043">
              <a:extLst>
                <a:ext uri="{FF2B5EF4-FFF2-40B4-BE49-F238E27FC236}">
                  <a16:creationId xmlns:a16="http://schemas.microsoft.com/office/drawing/2014/main" id="{582AD0F5-D64F-9113-E31D-3D90DFF7E080}"/>
                </a:ext>
              </a:extLst>
            </p:cNvPr>
            <p:cNvGrpSpPr/>
            <p:nvPr/>
          </p:nvGrpSpPr>
          <p:grpSpPr>
            <a:xfrm>
              <a:off x="7286594" y="3039627"/>
              <a:ext cx="1158121" cy="720000"/>
              <a:chOff x="1870800" y="1718465"/>
              <a:chExt cx="1158121" cy="720000"/>
            </a:xfrm>
          </p:grpSpPr>
          <p:pic>
            <p:nvPicPr>
              <p:cNvPr id="1060" name="Kuva 1059" descr="Toimisto työntekijä nainen tasaisella täytöllä">
                <a:extLst>
                  <a:ext uri="{FF2B5EF4-FFF2-40B4-BE49-F238E27FC236}">
                    <a16:creationId xmlns:a16="http://schemas.microsoft.com/office/drawing/2014/main" id="{EBEC5499-C943-E3F6-7DAB-24C34965E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5">
                <a:extLst>
                  <a:ext uri="{96DAC541-7B7A-43D3-8B79-37D633B846F1}">
                    <asvg:svgBlip xmlns:asvg="http://schemas.microsoft.com/office/drawing/2016/SVG/main" r:embed="rId56"/>
                  </a:ext>
                </a:extLst>
              </a:blip>
              <a:stretch>
                <a:fillRect/>
              </a:stretch>
            </p:blipFill>
            <p:spPr>
              <a:xfrm>
                <a:off x="1870800" y="1718465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061" name="Ellipsi 1060">
                <a:extLst>
                  <a:ext uri="{FF2B5EF4-FFF2-40B4-BE49-F238E27FC236}">
                    <a16:creationId xmlns:a16="http://schemas.microsoft.com/office/drawing/2014/main" id="{5AD1CFBA-977B-32A2-7E69-D029C8E582C9}"/>
                  </a:ext>
                </a:extLst>
              </p:cNvPr>
              <p:cNvSpPr/>
              <p:nvPr/>
            </p:nvSpPr>
            <p:spPr bwMode="auto">
              <a:xfrm>
                <a:off x="2524921" y="1826396"/>
                <a:ext cx="504000" cy="50413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1" i="0" u="none" strike="noStrike" cap="none" normalizeH="0" dirty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 W3" pitchFamily="84" charset="-128"/>
                </a:endParaRPr>
              </a:p>
            </p:txBody>
          </p:sp>
        </p:grpSp>
        <p:grpSp>
          <p:nvGrpSpPr>
            <p:cNvPr id="1045" name="Ryhmä 1044">
              <a:extLst>
                <a:ext uri="{FF2B5EF4-FFF2-40B4-BE49-F238E27FC236}">
                  <a16:creationId xmlns:a16="http://schemas.microsoft.com/office/drawing/2014/main" id="{4DDE8F8A-434D-7EA2-F35C-1AC514B5C12D}"/>
                </a:ext>
              </a:extLst>
            </p:cNvPr>
            <p:cNvGrpSpPr/>
            <p:nvPr/>
          </p:nvGrpSpPr>
          <p:grpSpPr>
            <a:xfrm>
              <a:off x="9745362" y="3039627"/>
              <a:ext cx="1094682" cy="720000"/>
              <a:chOff x="4065742" y="1507572"/>
              <a:chExt cx="1094682" cy="720000"/>
            </a:xfrm>
          </p:grpSpPr>
          <p:pic>
            <p:nvPicPr>
              <p:cNvPr id="1058" name="Kuva 1057" descr="Naisen profiili tasaisella täytöllä">
                <a:extLst>
                  <a:ext uri="{FF2B5EF4-FFF2-40B4-BE49-F238E27FC236}">
                    <a16:creationId xmlns:a16="http://schemas.microsoft.com/office/drawing/2014/main" id="{B593DD5A-32AC-E8BE-D1D0-C6FE710202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7">
                <a:extLst>
                  <a:ext uri="{96DAC541-7B7A-43D3-8B79-37D633B846F1}">
                    <asvg:svgBlip xmlns:asvg="http://schemas.microsoft.com/office/drawing/2016/SVG/main" r:embed="rId58"/>
                  </a:ext>
                </a:extLst>
              </a:blip>
              <a:stretch>
                <a:fillRect/>
              </a:stretch>
            </p:blipFill>
            <p:spPr>
              <a:xfrm>
                <a:off x="4516624" y="1507572"/>
                <a:ext cx="643800" cy="720000"/>
              </a:xfrm>
              <a:prstGeom prst="rect">
                <a:avLst/>
              </a:prstGeom>
            </p:spPr>
          </p:pic>
          <p:sp>
            <p:nvSpPr>
              <p:cNvPr id="1059" name="Ellipsi 1058">
                <a:extLst>
                  <a:ext uri="{FF2B5EF4-FFF2-40B4-BE49-F238E27FC236}">
                    <a16:creationId xmlns:a16="http://schemas.microsoft.com/office/drawing/2014/main" id="{8C733576-C3D4-A1E8-774C-33E64995D4E6}"/>
                  </a:ext>
                </a:extLst>
              </p:cNvPr>
              <p:cNvSpPr/>
              <p:nvPr/>
            </p:nvSpPr>
            <p:spPr bwMode="auto">
              <a:xfrm>
                <a:off x="4065742" y="1615503"/>
                <a:ext cx="504000" cy="50413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1" i="0" u="none" strike="noStrike" cap="none" normalizeH="0" dirty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 W3" pitchFamily="84" charset="-128"/>
                </a:endParaRPr>
              </a:p>
            </p:txBody>
          </p:sp>
        </p:grpSp>
        <p:grpSp>
          <p:nvGrpSpPr>
            <p:cNvPr id="1046" name="Ryhmä 1045">
              <a:extLst>
                <a:ext uri="{FF2B5EF4-FFF2-40B4-BE49-F238E27FC236}">
                  <a16:creationId xmlns:a16="http://schemas.microsoft.com/office/drawing/2014/main" id="{1C2AEED3-710F-CF01-CA17-DE8C454A89D0}"/>
                </a:ext>
              </a:extLst>
            </p:cNvPr>
            <p:cNvGrpSpPr/>
            <p:nvPr/>
          </p:nvGrpSpPr>
          <p:grpSpPr>
            <a:xfrm>
              <a:off x="10426082" y="4442925"/>
              <a:ext cx="1100914" cy="720000"/>
              <a:chOff x="4690286" y="3088812"/>
              <a:chExt cx="1100914" cy="720000"/>
            </a:xfrm>
          </p:grpSpPr>
          <p:pic>
            <p:nvPicPr>
              <p:cNvPr id="1056" name="Kuva 1055" descr="Miehen profiili tasaisella täytöllä">
                <a:extLst>
                  <a:ext uri="{FF2B5EF4-FFF2-40B4-BE49-F238E27FC236}">
                    <a16:creationId xmlns:a16="http://schemas.microsoft.com/office/drawing/2014/main" id="{9E6DBBDB-6773-02F5-F6FE-4031B94CBF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9">
                <a:extLst>
                  <a:ext uri="{96DAC541-7B7A-43D3-8B79-37D633B846F1}">
                    <asvg:svgBlip xmlns:asvg="http://schemas.microsoft.com/office/drawing/2016/SVG/main" r:embed="rId60"/>
                  </a:ext>
                </a:extLst>
              </a:blip>
              <a:stretch>
                <a:fillRect/>
              </a:stretch>
            </p:blipFill>
            <p:spPr>
              <a:xfrm>
                <a:off x="5147400" y="3088812"/>
                <a:ext cx="643800" cy="720000"/>
              </a:xfrm>
              <a:prstGeom prst="rect">
                <a:avLst/>
              </a:prstGeom>
            </p:spPr>
          </p:pic>
          <p:sp>
            <p:nvSpPr>
              <p:cNvPr id="1057" name="Ellipsi 1056">
                <a:extLst>
                  <a:ext uri="{FF2B5EF4-FFF2-40B4-BE49-F238E27FC236}">
                    <a16:creationId xmlns:a16="http://schemas.microsoft.com/office/drawing/2014/main" id="{C8130481-D3B2-9D47-367B-AC4F60C66FCD}"/>
                  </a:ext>
                </a:extLst>
              </p:cNvPr>
              <p:cNvSpPr/>
              <p:nvPr/>
            </p:nvSpPr>
            <p:spPr bwMode="auto">
              <a:xfrm>
                <a:off x="4690286" y="3196743"/>
                <a:ext cx="504000" cy="50413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1" i="0" u="none" strike="noStrike" cap="none" normalizeH="0" dirty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 W3" pitchFamily="84" charset="-128"/>
                </a:endParaRPr>
              </a:p>
            </p:txBody>
          </p:sp>
        </p:grpSp>
        <p:grpSp>
          <p:nvGrpSpPr>
            <p:cNvPr id="1047" name="Ryhmä 1046">
              <a:extLst>
                <a:ext uri="{FF2B5EF4-FFF2-40B4-BE49-F238E27FC236}">
                  <a16:creationId xmlns:a16="http://schemas.microsoft.com/office/drawing/2014/main" id="{9029AB0A-BAF7-DAD4-2AAF-F1E160D8FADA}"/>
                </a:ext>
              </a:extLst>
            </p:cNvPr>
            <p:cNvGrpSpPr/>
            <p:nvPr/>
          </p:nvGrpSpPr>
          <p:grpSpPr>
            <a:xfrm>
              <a:off x="9745362" y="5746762"/>
              <a:ext cx="1142783" cy="756000"/>
              <a:chOff x="4413817" y="4613406"/>
              <a:chExt cx="1142783" cy="756000"/>
            </a:xfrm>
          </p:grpSpPr>
          <p:pic>
            <p:nvPicPr>
              <p:cNvPr id="1054" name="Kuva 1053" descr="Koulupoika tasaisella täytöllä">
                <a:extLst>
                  <a:ext uri="{FF2B5EF4-FFF2-40B4-BE49-F238E27FC236}">
                    <a16:creationId xmlns:a16="http://schemas.microsoft.com/office/drawing/2014/main" id="{42DE6504-DA44-EBAD-930B-7C05695727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1">
                <a:extLst>
                  <a:ext uri="{96DAC541-7B7A-43D3-8B79-37D633B846F1}">
                    <asvg:svgBlip xmlns:asvg="http://schemas.microsoft.com/office/drawing/2016/SVG/main" r:embed="rId62"/>
                  </a:ext>
                </a:extLst>
              </a:blip>
              <a:stretch>
                <a:fillRect/>
              </a:stretch>
            </p:blipFill>
            <p:spPr>
              <a:xfrm>
                <a:off x="4800600" y="4613406"/>
                <a:ext cx="756000" cy="756000"/>
              </a:xfrm>
              <a:prstGeom prst="rect">
                <a:avLst/>
              </a:prstGeom>
            </p:spPr>
          </p:pic>
          <p:sp>
            <p:nvSpPr>
              <p:cNvPr id="1055" name="Ellipsi 1054">
                <a:extLst>
                  <a:ext uri="{FF2B5EF4-FFF2-40B4-BE49-F238E27FC236}">
                    <a16:creationId xmlns:a16="http://schemas.microsoft.com/office/drawing/2014/main" id="{D35FF83C-F61F-B73E-28E9-AFA99FCE2A68}"/>
                  </a:ext>
                </a:extLst>
              </p:cNvPr>
              <p:cNvSpPr/>
              <p:nvPr/>
            </p:nvSpPr>
            <p:spPr bwMode="auto">
              <a:xfrm>
                <a:off x="4413817" y="4739337"/>
                <a:ext cx="504000" cy="50413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1" i="0" u="none" strike="noStrike" cap="none" normalizeH="0" dirty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 W3" pitchFamily="84" charset="-128"/>
                </a:endParaRPr>
              </a:p>
            </p:txBody>
          </p:sp>
        </p:grpSp>
        <p:cxnSp>
          <p:nvCxnSpPr>
            <p:cNvPr id="1048" name="Suora nuoliyhdysviiva 1047">
              <a:extLst>
                <a:ext uri="{FF2B5EF4-FFF2-40B4-BE49-F238E27FC236}">
                  <a16:creationId xmlns:a16="http://schemas.microsoft.com/office/drawing/2014/main" id="{89CCCA89-03A6-323E-DABD-B4965224C72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8431442" y="5485170"/>
              <a:ext cx="252200" cy="326494"/>
            </a:xfrm>
            <a:prstGeom prst="straightConnector1">
              <a:avLst/>
            </a:prstGeom>
            <a:solidFill>
              <a:srgbClr val="FFFFFF"/>
            </a:solidFill>
            <a:ln w="508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sm" len="sm"/>
            </a:ln>
            <a:effectLst/>
          </p:spPr>
        </p:cxnSp>
        <p:cxnSp>
          <p:nvCxnSpPr>
            <p:cNvPr id="1049" name="Suora nuoliyhdysviiva 1048">
              <a:extLst>
                <a:ext uri="{FF2B5EF4-FFF2-40B4-BE49-F238E27FC236}">
                  <a16:creationId xmlns:a16="http://schemas.microsoft.com/office/drawing/2014/main" id="{09015386-9C35-E55E-7289-16655728380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413546" y="3685738"/>
              <a:ext cx="252200" cy="326494"/>
            </a:xfrm>
            <a:prstGeom prst="straightConnector1">
              <a:avLst/>
            </a:prstGeom>
            <a:solidFill>
              <a:srgbClr val="FFFFFF"/>
            </a:solidFill>
            <a:ln w="508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sm" len="sm"/>
            </a:ln>
            <a:effectLst/>
          </p:spPr>
        </p:cxnSp>
        <p:cxnSp>
          <p:nvCxnSpPr>
            <p:cNvPr id="1050" name="Suora nuoliyhdysviiva 1049">
              <a:extLst>
                <a:ext uri="{FF2B5EF4-FFF2-40B4-BE49-F238E27FC236}">
                  <a16:creationId xmlns:a16="http://schemas.microsoft.com/office/drawing/2014/main" id="{A9899766-BF93-EBF2-07AB-96A44CA1426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19482" y="4792616"/>
              <a:ext cx="418987" cy="0"/>
            </a:xfrm>
            <a:prstGeom prst="straightConnector1">
              <a:avLst/>
            </a:prstGeom>
            <a:solidFill>
              <a:srgbClr val="FFFFFF"/>
            </a:solidFill>
            <a:ln w="508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sm" len="sm"/>
            </a:ln>
            <a:effectLst/>
          </p:spPr>
        </p:cxnSp>
        <p:cxnSp>
          <p:nvCxnSpPr>
            <p:cNvPr id="1051" name="Suora nuoliyhdysviiva 1050">
              <a:extLst>
                <a:ext uri="{FF2B5EF4-FFF2-40B4-BE49-F238E27FC236}">
                  <a16:creationId xmlns:a16="http://schemas.microsoft.com/office/drawing/2014/main" id="{EFF197F1-E5B2-DFB0-00DA-0592DFD5D70C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9554952" y="5492639"/>
              <a:ext cx="252200" cy="326494"/>
            </a:xfrm>
            <a:prstGeom prst="straightConnector1">
              <a:avLst/>
            </a:prstGeom>
            <a:solidFill>
              <a:srgbClr val="FFFFFF"/>
            </a:solidFill>
            <a:ln w="508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sm" len="sm"/>
            </a:ln>
            <a:effectLst/>
          </p:spPr>
        </p:cxnSp>
        <p:cxnSp>
          <p:nvCxnSpPr>
            <p:cNvPr id="1052" name="Suora nuoliyhdysviiva 1051">
              <a:extLst>
                <a:ext uri="{FF2B5EF4-FFF2-40B4-BE49-F238E27FC236}">
                  <a16:creationId xmlns:a16="http://schemas.microsoft.com/office/drawing/2014/main" id="{D739C06C-B62C-C3FA-6AFB-C99AFBB03B4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9537056" y="3693207"/>
              <a:ext cx="252200" cy="326494"/>
            </a:xfrm>
            <a:prstGeom prst="straightConnector1">
              <a:avLst/>
            </a:prstGeom>
            <a:solidFill>
              <a:srgbClr val="FFFFFF"/>
            </a:solidFill>
            <a:ln w="508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sm" len="sm"/>
            </a:ln>
            <a:effectLst/>
          </p:spPr>
        </p:cxnSp>
        <p:cxnSp>
          <p:nvCxnSpPr>
            <p:cNvPr id="1053" name="Suora nuoliyhdysviiva 1052">
              <a:extLst>
                <a:ext uri="{FF2B5EF4-FFF2-40B4-BE49-F238E27FC236}">
                  <a16:creationId xmlns:a16="http://schemas.microsoft.com/office/drawing/2014/main" id="{137D5BFA-A9A4-4D8A-7C10-D657019B8E3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9902842" y="4789925"/>
              <a:ext cx="418987" cy="0"/>
            </a:xfrm>
            <a:prstGeom prst="straightConnector1">
              <a:avLst/>
            </a:prstGeom>
            <a:solidFill>
              <a:srgbClr val="FFFFFF"/>
            </a:solidFill>
            <a:ln w="508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sm" len="sm"/>
            </a:ln>
            <a:effectLst/>
          </p:spPr>
        </p:cxnSp>
        <p:grpSp>
          <p:nvGrpSpPr>
            <p:cNvPr id="1081" name="Ryhmä 1080">
              <a:extLst>
                <a:ext uri="{FF2B5EF4-FFF2-40B4-BE49-F238E27FC236}">
                  <a16:creationId xmlns:a16="http://schemas.microsoft.com/office/drawing/2014/main" id="{095B7E04-9FF1-2299-AFA3-FE767D0CDAE7}"/>
                </a:ext>
              </a:extLst>
            </p:cNvPr>
            <p:cNvGrpSpPr/>
            <p:nvPr/>
          </p:nvGrpSpPr>
          <p:grpSpPr>
            <a:xfrm>
              <a:off x="8057555" y="3182715"/>
              <a:ext cx="252000" cy="414000"/>
              <a:chOff x="13106400" y="3119039"/>
              <a:chExt cx="1676400" cy="2764388"/>
            </a:xfrm>
          </p:grpSpPr>
          <p:sp>
            <p:nvSpPr>
              <p:cNvPr id="1082" name="Suorakulmio 1081">
                <a:extLst>
                  <a:ext uri="{FF2B5EF4-FFF2-40B4-BE49-F238E27FC236}">
                    <a16:creationId xmlns:a16="http://schemas.microsoft.com/office/drawing/2014/main" id="{EC067859-B3DE-7B56-714F-B9F185108504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083" name="Kuva 1082">
                <a:extLst>
                  <a:ext uri="{FF2B5EF4-FFF2-40B4-BE49-F238E27FC236}">
                    <a16:creationId xmlns:a16="http://schemas.microsoft.com/office/drawing/2014/main" id="{1C722625-B2FC-8209-600C-0719309234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 cstate="email">
                <a:extLst>
                  <a:ext uri="{BEBA8EAE-BF5A-486C-A8C5-ECC9F3942E4B}">
                    <a14:imgProps xmlns:a14="http://schemas.microsoft.com/office/drawing/2010/main">
                      <a14:imgLayer r:embed="rId80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120" name="Ryhmä 1119">
              <a:extLst>
                <a:ext uri="{FF2B5EF4-FFF2-40B4-BE49-F238E27FC236}">
                  <a16:creationId xmlns:a16="http://schemas.microsoft.com/office/drawing/2014/main" id="{AD2C1C23-1337-80B9-2A53-B1FAEEE8FB96}"/>
                </a:ext>
              </a:extLst>
            </p:cNvPr>
            <p:cNvGrpSpPr/>
            <p:nvPr/>
          </p:nvGrpSpPr>
          <p:grpSpPr>
            <a:xfrm>
              <a:off x="10518144" y="2360547"/>
              <a:ext cx="641477" cy="720000"/>
              <a:chOff x="9932439" y="1286256"/>
              <a:chExt cx="641477" cy="720000"/>
            </a:xfrm>
          </p:grpSpPr>
          <p:sp>
            <p:nvSpPr>
              <p:cNvPr id="1117" name="Ajatuskupla: Pilvi 1116">
                <a:extLst>
                  <a:ext uri="{FF2B5EF4-FFF2-40B4-BE49-F238E27FC236}">
                    <a16:creationId xmlns:a16="http://schemas.microsoft.com/office/drawing/2014/main" id="{66A71159-3167-440D-885E-829B176766B9}"/>
                  </a:ext>
                </a:extLst>
              </p:cNvPr>
              <p:cNvSpPr/>
              <p:nvPr/>
            </p:nvSpPr>
            <p:spPr bwMode="auto">
              <a:xfrm>
                <a:off x="9932439" y="1286256"/>
                <a:ext cx="641477" cy="720000"/>
              </a:xfrm>
              <a:prstGeom prst="cloudCallout">
                <a:avLst>
                  <a:gd name="adj1" fmla="val -23244"/>
                  <a:gd name="adj2" fmla="val 69556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18" name="Kuva 1117" descr="Hoito tasaisella täytöllä">
                <a:extLst>
                  <a:ext uri="{FF2B5EF4-FFF2-40B4-BE49-F238E27FC236}">
                    <a16:creationId xmlns:a16="http://schemas.microsoft.com/office/drawing/2014/main" id="{1348B67A-4846-D05D-5779-DCC08285BD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r:embed="rId82"/>
                  </a:ext>
                </a:extLst>
              </a:blip>
              <a:stretch>
                <a:fillRect/>
              </a:stretch>
            </p:blipFill>
            <p:spPr>
              <a:xfrm>
                <a:off x="10014807" y="1330542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1121" name="Ryhmä 1120">
              <a:extLst>
                <a:ext uri="{FF2B5EF4-FFF2-40B4-BE49-F238E27FC236}">
                  <a16:creationId xmlns:a16="http://schemas.microsoft.com/office/drawing/2014/main" id="{D86EC99F-89C7-8C97-4B37-BCDC6B7F5833}"/>
                </a:ext>
              </a:extLst>
            </p:cNvPr>
            <p:cNvGrpSpPr/>
            <p:nvPr/>
          </p:nvGrpSpPr>
          <p:grpSpPr>
            <a:xfrm>
              <a:off x="11177665" y="3785057"/>
              <a:ext cx="641477" cy="720000"/>
              <a:chOff x="9932439" y="1286256"/>
              <a:chExt cx="641477" cy="720000"/>
            </a:xfrm>
          </p:grpSpPr>
          <p:sp>
            <p:nvSpPr>
              <p:cNvPr id="1122" name="Ajatuskupla: Pilvi 1121">
                <a:extLst>
                  <a:ext uri="{FF2B5EF4-FFF2-40B4-BE49-F238E27FC236}">
                    <a16:creationId xmlns:a16="http://schemas.microsoft.com/office/drawing/2014/main" id="{EF7007A8-308B-4C5E-2BF8-54DBEFDE2AA8}"/>
                  </a:ext>
                </a:extLst>
              </p:cNvPr>
              <p:cNvSpPr/>
              <p:nvPr/>
            </p:nvSpPr>
            <p:spPr bwMode="auto">
              <a:xfrm>
                <a:off x="9932439" y="1286256"/>
                <a:ext cx="641477" cy="720000"/>
              </a:xfrm>
              <a:prstGeom prst="cloudCallout">
                <a:avLst>
                  <a:gd name="adj1" fmla="val -23244"/>
                  <a:gd name="adj2" fmla="val 69556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23" name="Kuva 1122" descr="Hoito tasaisella täytöllä">
                <a:extLst>
                  <a:ext uri="{FF2B5EF4-FFF2-40B4-BE49-F238E27FC236}">
                    <a16:creationId xmlns:a16="http://schemas.microsoft.com/office/drawing/2014/main" id="{68338A24-DC78-CA6E-83AA-8387038A4A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r:embed="rId82"/>
                  </a:ext>
                </a:extLst>
              </a:blip>
              <a:stretch>
                <a:fillRect/>
              </a:stretch>
            </p:blipFill>
            <p:spPr>
              <a:xfrm>
                <a:off x="10009386" y="1339546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1125" name="Ryhmä 1124">
              <a:extLst>
                <a:ext uri="{FF2B5EF4-FFF2-40B4-BE49-F238E27FC236}">
                  <a16:creationId xmlns:a16="http://schemas.microsoft.com/office/drawing/2014/main" id="{FACAC3B4-6572-5037-4277-237DC09C430D}"/>
                </a:ext>
              </a:extLst>
            </p:cNvPr>
            <p:cNvGrpSpPr/>
            <p:nvPr/>
          </p:nvGrpSpPr>
          <p:grpSpPr>
            <a:xfrm>
              <a:off x="10518144" y="5147475"/>
              <a:ext cx="641477" cy="720000"/>
              <a:chOff x="9932439" y="1286256"/>
              <a:chExt cx="641477" cy="720000"/>
            </a:xfrm>
          </p:grpSpPr>
          <p:sp>
            <p:nvSpPr>
              <p:cNvPr id="1126" name="Ajatuskupla: Pilvi 1125">
                <a:extLst>
                  <a:ext uri="{FF2B5EF4-FFF2-40B4-BE49-F238E27FC236}">
                    <a16:creationId xmlns:a16="http://schemas.microsoft.com/office/drawing/2014/main" id="{99BD2A60-9E6E-2689-913D-21E988A9A6B9}"/>
                  </a:ext>
                </a:extLst>
              </p:cNvPr>
              <p:cNvSpPr/>
              <p:nvPr/>
            </p:nvSpPr>
            <p:spPr bwMode="auto">
              <a:xfrm>
                <a:off x="9932439" y="1286256"/>
                <a:ext cx="641477" cy="720000"/>
              </a:xfrm>
              <a:prstGeom prst="cloudCallout">
                <a:avLst>
                  <a:gd name="adj1" fmla="val -23244"/>
                  <a:gd name="adj2" fmla="val 69556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27" name="Kuva 1126" descr="Hoito tasaisella täytöllä">
                <a:extLst>
                  <a:ext uri="{FF2B5EF4-FFF2-40B4-BE49-F238E27FC236}">
                    <a16:creationId xmlns:a16="http://schemas.microsoft.com/office/drawing/2014/main" id="{EA38EE52-1790-2B6A-D3EB-4B023FD9A0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r:embed="rId82"/>
                  </a:ext>
                </a:extLst>
              </a:blip>
              <a:stretch>
                <a:fillRect/>
              </a:stretch>
            </p:blipFill>
            <p:spPr>
              <a:xfrm>
                <a:off x="10009386" y="1334442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1129" name="Ryhmä 1128">
              <a:extLst>
                <a:ext uri="{FF2B5EF4-FFF2-40B4-BE49-F238E27FC236}">
                  <a16:creationId xmlns:a16="http://schemas.microsoft.com/office/drawing/2014/main" id="{66F9C231-2037-1341-14DC-CF7A408F6A24}"/>
                </a:ext>
              </a:extLst>
            </p:cNvPr>
            <p:cNvGrpSpPr/>
            <p:nvPr/>
          </p:nvGrpSpPr>
          <p:grpSpPr>
            <a:xfrm>
              <a:off x="6942983" y="2451979"/>
              <a:ext cx="641477" cy="720000"/>
              <a:chOff x="9932439" y="1286256"/>
              <a:chExt cx="641477" cy="720000"/>
            </a:xfrm>
          </p:grpSpPr>
          <p:sp>
            <p:nvSpPr>
              <p:cNvPr id="1130" name="Ajatuskupla: Pilvi 1129">
                <a:extLst>
                  <a:ext uri="{FF2B5EF4-FFF2-40B4-BE49-F238E27FC236}">
                    <a16:creationId xmlns:a16="http://schemas.microsoft.com/office/drawing/2014/main" id="{57E5513C-3CA1-91DB-5930-B32350D08A40}"/>
                  </a:ext>
                </a:extLst>
              </p:cNvPr>
              <p:cNvSpPr/>
              <p:nvPr/>
            </p:nvSpPr>
            <p:spPr bwMode="auto">
              <a:xfrm>
                <a:off x="9932439" y="1286256"/>
                <a:ext cx="641477" cy="720000"/>
              </a:xfrm>
              <a:prstGeom prst="cloudCallout">
                <a:avLst>
                  <a:gd name="adj1" fmla="val 29617"/>
                  <a:gd name="adj2" fmla="val 63206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31" name="Kuva 1130" descr="Hoito tasaisella täytöllä">
                <a:extLst>
                  <a:ext uri="{FF2B5EF4-FFF2-40B4-BE49-F238E27FC236}">
                    <a16:creationId xmlns:a16="http://schemas.microsoft.com/office/drawing/2014/main" id="{074DFF79-36E4-D2D3-6E80-DBFCB79FC0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r:embed="rId82"/>
                  </a:ext>
                </a:extLst>
              </a:blip>
              <a:stretch>
                <a:fillRect/>
              </a:stretch>
            </p:blipFill>
            <p:spPr>
              <a:xfrm>
                <a:off x="9997939" y="1355795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1137" name="Ryhmä 1136">
              <a:extLst>
                <a:ext uri="{FF2B5EF4-FFF2-40B4-BE49-F238E27FC236}">
                  <a16:creationId xmlns:a16="http://schemas.microsoft.com/office/drawing/2014/main" id="{3625D4C8-1BEB-4C19-B312-16B927EFCF50}"/>
                </a:ext>
              </a:extLst>
            </p:cNvPr>
            <p:cNvGrpSpPr/>
            <p:nvPr/>
          </p:nvGrpSpPr>
          <p:grpSpPr>
            <a:xfrm>
              <a:off x="6431485" y="3659701"/>
              <a:ext cx="641477" cy="720000"/>
              <a:chOff x="9932439" y="1286256"/>
              <a:chExt cx="641477" cy="720000"/>
            </a:xfrm>
          </p:grpSpPr>
          <p:sp>
            <p:nvSpPr>
              <p:cNvPr id="1138" name="Ajatuskupla: Pilvi 1137">
                <a:extLst>
                  <a:ext uri="{FF2B5EF4-FFF2-40B4-BE49-F238E27FC236}">
                    <a16:creationId xmlns:a16="http://schemas.microsoft.com/office/drawing/2014/main" id="{3FA80D31-FB82-25D6-D3CC-B6F60338E5CB}"/>
                  </a:ext>
                </a:extLst>
              </p:cNvPr>
              <p:cNvSpPr/>
              <p:nvPr/>
            </p:nvSpPr>
            <p:spPr bwMode="auto">
              <a:xfrm>
                <a:off x="9932439" y="1286256"/>
                <a:ext cx="641477" cy="720000"/>
              </a:xfrm>
              <a:prstGeom prst="cloudCallout">
                <a:avLst>
                  <a:gd name="adj1" fmla="val 29617"/>
                  <a:gd name="adj2" fmla="val 63206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39" name="Kuva 1138" descr="Hoito tasaisella täytöllä">
                <a:extLst>
                  <a:ext uri="{FF2B5EF4-FFF2-40B4-BE49-F238E27FC236}">
                    <a16:creationId xmlns:a16="http://schemas.microsoft.com/office/drawing/2014/main" id="{1D04F97F-F330-498E-A083-0F95555115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r:embed="rId82"/>
                  </a:ext>
                </a:extLst>
              </a:blip>
              <a:stretch>
                <a:fillRect/>
              </a:stretch>
            </p:blipFill>
            <p:spPr>
              <a:xfrm>
                <a:off x="10003341" y="1346949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1141" name="Ryhmä 1140">
              <a:extLst>
                <a:ext uri="{FF2B5EF4-FFF2-40B4-BE49-F238E27FC236}">
                  <a16:creationId xmlns:a16="http://schemas.microsoft.com/office/drawing/2014/main" id="{3DC9C4F4-4403-0E89-471E-3E9F1A495D4B}"/>
                </a:ext>
              </a:extLst>
            </p:cNvPr>
            <p:cNvGrpSpPr/>
            <p:nvPr/>
          </p:nvGrpSpPr>
          <p:grpSpPr>
            <a:xfrm>
              <a:off x="6920853" y="5185169"/>
              <a:ext cx="641477" cy="720000"/>
              <a:chOff x="9932439" y="1286256"/>
              <a:chExt cx="641477" cy="720000"/>
            </a:xfrm>
          </p:grpSpPr>
          <p:sp>
            <p:nvSpPr>
              <p:cNvPr id="1142" name="Ajatuskupla: Pilvi 1141">
                <a:extLst>
                  <a:ext uri="{FF2B5EF4-FFF2-40B4-BE49-F238E27FC236}">
                    <a16:creationId xmlns:a16="http://schemas.microsoft.com/office/drawing/2014/main" id="{13FC38D5-189F-16B9-85A8-8633AB8C64FF}"/>
                  </a:ext>
                </a:extLst>
              </p:cNvPr>
              <p:cNvSpPr/>
              <p:nvPr/>
            </p:nvSpPr>
            <p:spPr bwMode="auto">
              <a:xfrm>
                <a:off x="9932439" y="1286256"/>
                <a:ext cx="641477" cy="720000"/>
              </a:xfrm>
              <a:prstGeom prst="cloudCallout">
                <a:avLst>
                  <a:gd name="adj1" fmla="val 29617"/>
                  <a:gd name="adj2" fmla="val 63206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43" name="Kuva 1142" descr="Hoito tasaisella täytöllä">
                <a:extLst>
                  <a:ext uri="{FF2B5EF4-FFF2-40B4-BE49-F238E27FC236}">
                    <a16:creationId xmlns:a16="http://schemas.microsoft.com/office/drawing/2014/main" id="{3CD33B8C-DC81-00C3-8123-A42A06E045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r:embed="rId82"/>
                  </a:ext>
                </a:extLst>
              </a:blip>
              <a:stretch>
                <a:fillRect/>
              </a:stretch>
            </p:blipFill>
            <p:spPr>
              <a:xfrm>
                <a:off x="10009269" y="1345481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1145" name="Ryhmä 1144">
              <a:extLst>
                <a:ext uri="{FF2B5EF4-FFF2-40B4-BE49-F238E27FC236}">
                  <a16:creationId xmlns:a16="http://schemas.microsoft.com/office/drawing/2014/main" id="{565BB39D-B8B2-5ADE-D46D-ABDA6F396033}"/>
                </a:ext>
              </a:extLst>
            </p:cNvPr>
            <p:cNvGrpSpPr/>
            <p:nvPr/>
          </p:nvGrpSpPr>
          <p:grpSpPr>
            <a:xfrm>
              <a:off x="7441614" y="4588259"/>
              <a:ext cx="252000" cy="414000"/>
              <a:chOff x="13106400" y="3119039"/>
              <a:chExt cx="1676400" cy="2764388"/>
            </a:xfrm>
          </p:grpSpPr>
          <p:sp>
            <p:nvSpPr>
              <p:cNvPr id="1146" name="Suorakulmio 1145">
                <a:extLst>
                  <a:ext uri="{FF2B5EF4-FFF2-40B4-BE49-F238E27FC236}">
                    <a16:creationId xmlns:a16="http://schemas.microsoft.com/office/drawing/2014/main" id="{FEE4B14B-EF98-BC8C-3747-421AF552B45B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47" name="Kuva 1146">
                <a:extLst>
                  <a:ext uri="{FF2B5EF4-FFF2-40B4-BE49-F238E27FC236}">
                    <a16:creationId xmlns:a16="http://schemas.microsoft.com/office/drawing/2014/main" id="{858741C5-37C1-AD92-ADAD-11E1991DDD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 cstate="email">
                <a:extLst>
                  <a:ext uri="{BEBA8EAE-BF5A-486C-A8C5-ECC9F3942E4B}">
                    <a14:imgProps xmlns:a14="http://schemas.microsoft.com/office/drawing/2010/main">
                      <a14:imgLayer r:embed="rId83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148" name="Ryhmä 1147">
              <a:extLst>
                <a:ext uri="{FF2B5EF4-FFF2-40B4-BE49-F238E27FC236}">
                  <a16:creationId xmlns:a16="http://schemas.microsoft.com/office/drawing/2014/main" id="{2D2FDBE6-A651-F51A-4A43-D8C93CCADC59}"/>
                </a:ext>
              </a:extLst>
            </p:cNvPr>
            <p:cNvGrpSpPr/>
            <p:nvPr/>
          </p:nvGrpSpPr>
          <p:grpSpPr>
            <a:xfrm>
              <a:off x="8066715" y="5899762"/>
              <a:ext cx="252000" cy="414000"/>
              <a:chOff x="13106400" y="3119039"/>
              <a:chExt cx="1676400" cy="2764388"/>
            </a:xfrm>
          </p:grpSpPr>
          <p:sp>
            <p:nvSpPr>
              <p:cNvPr id="1149" name="Suorakulmio 1148">
                <a:extLst>
                  <a:ext uri="{FF2B5EF4-FFF2-40B4-BE49-F238E27FC236}">
                    <a16:creationId xmlns:a16="http://schemas.microsoft.com/office/drawing/2014/main" id="{C4E1C372-89C0-72C1-BF57-D23F10DFCB99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50" name="Kuva 1149">
                <a:extLst>
                  <a:ext uri="{FF2B5EF4-FFF2-40B4-BE49-F238E27FC236}">
                    <a16:creationId xmlns:a16="http://schemas.microsoft.com/office/drawing/2014/main" id="{3CF67D83-0914-8848-CD59-024E2868CE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 cstate="email">
                <a:extLst>
                  <a:ext uri="{BEBA8EAE-BF5A-486C-A8C5-ECC9F3942E4B}">
                    <a14:imgProps xmlns:a14="http://schemas.microsoft.com/office/drawing/2010/main">
                      <a14:imgLayer r:embed="rId84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151" name="Ryhmä 1150">
              <a:extLst>
                <a:ext uri="{FF2B5EF4-FFF2-40B4-BE49-F238E27FC236}">
                  <a16:creationId xmlns:a16="http://schemas.microsoft.com/office/drawing/2014/main" id="{BE17BD8E-106D-0539-2179-53C012FF9765}"/>
                </a:ext>
              </a:extLst>
            </p:cNvPr>
            <p:cNvGrpSpPr/>
            <p:nvPr/>
          </p:nvGrpSpPr>
          <p:grpSpPr>
            <a:xfrm>
              <a:off x="9872170" y="5914044"/>
              <a:ext cx="252000" cy="414000"/>
              <a:chOff x="13106400" y="3119039"/>
              <a:chExt cx="1676400" cy="2764388"/>
            </a:xfrm>
          </p:grpSpPr>
          <p:sp>
            <p:nvSpPr>
              <p:cNvPr id="1152" name="Suorakulmio 1151">
                <a:extLst>
                  <a:ext uri="{FF2B5EF4-FFF2-40B4-BE49-F238E27FC236}">
                    <a16:creationId xmlns:a16="http://schemas.microsoft.com/office/drawing/2014/main" id="{3114CF26-C890-89A9-0553-6A4ABAA8C6C4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53" name="Kuva 1152">
                <a:extLst>
                  <a:ext uri="{FF2B5EF4-FFF2-40B4-BE49-F238E27FC236}">
                    <a16:creationId xmlns:a16="http://schemas.microsoft.com/office/drawing/2014/main" id="{0B322E6B-E26D-1DC3-5A90-5603D4815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 cstate="email">
                <a:extLst>
                  <a:ext uri="{BEBA8EAE-BF5A-486C-A8C5-ECC9F3942E4B}">
                    <a14:imgProps xmlns:a14="http://schemas.microsoft.com/office/drawing/2010/main">
                      <a14:imgLayer r:embed="rId85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154" name="Ryhmä 1153">
              <a:extLst>
                <a:ext uri="{FF2B5EF4-FFF2-40B4-BE49-F238E27FC236}">
                  <a16:creationId xmlns:a16="http://schemas.microsoft.com/office/drawing/2014/main" id="{C1DA9FC9-B702-80EA-47F2-1A5090FAE1AB}"/>
                </a:ext>
              </a:extLst>
            </p:cNvPr>
            <p:cNvGrpSpPr/>
            <p:nvPr/>
          </p:nvGrpSpPr>
          <p:grpSpPr>
            <a:xfrm>
              <a:off x="10550623" y="4588200"/>
              <a:ext cx="252000" cy="414000"/>
              <a:chOff x="13106400" y="3119039"/>
              <a:chExt cx="1676400" cy="2764388"/>
            </a:xfrm>
          </p:grpSpPr>
          <p:sp>
            <p:nvSpPr>
              <p:cNvPr id="1155" name="Suorakulmio 1154">
                <a:extLst>
                  <a:ext uri="{FF2B5EF4-FFF2-40B4-BE49-F238E27FC236}">
                    <a16:creationId xmlns:a16="http://schemas.microsoft.com/office/drawing/2014/main" id="{A9A3F057-76A4-2908-ADAE-364A87BBA34D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56" name="Kuva 1155">
                <a:extLst>
                  <a:ext uri="{FF2B5EF4-FFF2-40B4-BE49-F238E27FC236}">
                    <a16:creationId xmlns:a16="http://schemas.microsoft.com/office/drawing/2014/main" id="{FF0B7FD9-6085-00C3-845E-FB30C7D5E5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 cstate="email">
                <a:extLst>
                  <a:ext uri="{BEBA8EAE-BF5A-486C-A8C5-ECC9F3942E4B}">
                    <a14:imgProps xmlns:a14="http://schemas.microsoft.com/office/drawing/2010/main">
                      <a14:imgLayer r:embed="rId86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grpSp>
          <p:nvGrpSpPr>
            <p:cNvPr id="1157" name="Ryhmä 1156">
              <a:extLst>
                <a:ext uri="{FF2B5EF4-FFF2-40B4-BE49-F238E27FC236}">
                  <a16:creationId xmlns:a16="http://schemas.microsoft.com/office/drawing/2014/main" id="{F1879FAC-D143-4CEF-3990-AFA37A8B37C1}"/>
                </a:ext>
              </a:extLst>
            </p:cNvPr>
            <p:cNvGrpSpPr/>
            <p:nvPr/>
          </p:nvGrpSpPr>
          <p:grpSpPr>
            <a:xfrm>
              <a:off x="9870656" y="3182715"/>
              <a:ext cx="252000" cy="414000"/>
              <a:chOff x="13106400" y="3119039"/>
              <a:chExt cx="1676400" cy="2764388"/>
            </a:xfrm>
          </p:grpSpPr>
          <p:sp>
            <p:nvSpPr>
              <p:cNvPr id="1158" name="Suorakulmio 1157">
                <a:extLst>
                  <a:ext uri="{FF2B5EF4-FFF2-40B4-BE49-F238E27FC236}">
                    <a16:creationId xmlns:a16="http://schemas.microsoft.com/office/drawing/2014/main" id="{E3128F78-FFBC-44C1-C2E7-4B9E814C80E4}"/>
                  </a:ext>
                </a:extLst>
              </p:cNvPr>
              <p:cNvSpPr/>
              <p:nvPr/>
            </p:nvSpPr>
            <p:spPr bwMode="auto">
              <a:xfrm>
                <a:off x="13487400" y="4038600"/>
                <a:ext cx="936000" cy="11160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609600" marR="0" indent="-609600" algn="ctr" defTabSz="914400" rtl="0" eaLnBrk="1" fontAlgn="base" latinLnBrk="0" hangingPunct="1">
                  <a:spcAft>
                    <a:spcPct val="0"/>
                  </a:spcAft>
                  <a:buClrTx/>
                  <a:buSzTx/>
                  <a:buFont typeface="Helvetica" pitchFamily="84" charset="0"/>
                  <a:buNone/>
                  <a:tabLst/>
                </a:pPr>
                <a:endParaRPr kumimoji="0" lang="fi-FI" sz="3000" b="0" i="0" u="none" strike="noStrike" cap="none" normalizeH="0" dirty="0" err="1">
                  <a:ln>
                    <a:noFill/>
                  </a:ln>
                  <a:solidFill>
                    <a:srgbClr val="404040"/>
                  </a:solidFill>
                  <a:effectLst/>
                  <a:ea typeface="ヒラギノ角ゴ Pro W3" pitchFamily="84" charset="-128"/>
                </a:endParaRPr>
              </a:p>
            </p:txBody>
          </p:sp>
          <p:pic>
            <p:nvPicPr>
              <p:cNvPr id="1159" name="Kuva 1158">
                <a:extLst>
                  <a:ext uri="{FF2B5EF4-FFF2-40B4-BE49-F238E27FC236}">
                    <a16:creationId xmlns:a16="http://schemas.microsoft.com/office/drawing/2014/main" id="{9AD7C19F-7FB2-6694-F789-336E759ACF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 cstate="email">
                <a:extLst>
                  <a:ext uri="{BEBA8EAE-BF5A-486C-A8C5-ECC9F3942E4B}">
                    <a14:imgProps xmlns:a14="http://schemas.microsoft.com/office/drawing/2010/main">
                      <a14:imgLayer r:embed="rId86">
                        <a14:imgEffect>
                          <a14:backgroundRemoval t="4418" b="95984" l="9934" r="89404">
                            <a14:foregroundMark x1="42715" y1="4618" x2="58609" y2="27510"/>
                            <a14:foregroundMark x1="34768" y1="53012" x2="54636" y2="44177"/>
                            <a14:foregroundMark x1="54636" y1="44177" x2="66887" y2="54016"/>
                            <a14:foregroundMark x1="66887" y1="54016" x2="67881" y2="60241"/>
                            <a14:foregroundMark x1="51656" y1="65863" x2="51656" y2="64257"/>
                            <a14:foregroundMark x1="17550" y1="86345" x2="17550" y2="82530"/>
                            <a14:foregroundMark x1="10927" y1="95984" x2="17881" y2="92771"/>
                            <a14:foregroundMark x1="55298" y1="64859" x2="56954" y2="65462"/>
                            <a14:foregroundMark x1="50331" y1="50602" x2="54305" y2="50402"/>
                            <a14:foregroundMark x1="81126" y1="35542" x2="84437" y2="32530"/>
                            <a14:backgroundMark x1="10927" y1="90763" x2="14901" y2="9176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06400" y="3119039"/>
                <a:ext cx="1676400" cy="2764388"/>
              </a:xfrm>
              <a:prstGeom prst="rect">
                <a:avLst/>
              </a:prstGeom>
            </p:spPr>
          </p:pic>
        </p:grpSp>
        <p:sp>
          <p:nvSpPr>
            <p:cNvPr id="1161" name="Tekstiruutu 1160">
              <a:extLst>
                <a:ext uri="{FF2B5EF4-FFF2-40B4-BE49-F238E27FC236}">
                  <a16:creationId xmlns:a16="http://schemas.microsoft.com/office/drawing/2014/main" id="{0C6DDAA7-1D59-B200-A2D4-535178B6CB4C}"/>
                </a:ext>
              </a:extLst>
            </p:cNvPr>
            <p:cNvSpPr txBox="1"/>
            <p:nvPr/>
          </p:nvSpPr>
          <p:spPr>
            <a:xfrm>
              <a:off x="8657636" y="4797329"/>
              <a:ext cx="99880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i-FI" sz="3000" dirty="0">
                  <a:ln w="6350">
                    <a:solidFill>
                      <a:schemeClr val="tx1"/>
                    </a:solidFill>
                  </a:ln>
                  <a:solidFill>
                    <a:schemeClr val="accent1"/>
                  </a:solidFill>
                  <a:latin typeface="Aptos Black" panose="020B0004020202020204" pitchFamily="34" charset="0"/>
                </a:rPr>
                <a:t>LCIF</a:t>
              </a:r>
            </a:p>
          </p:txBody>
        </p:sp>
      </p:grpSp>
      <p:pic>
        <p:nvPicPr>
          <p:cNvPr id="1162" name="Kuva 1161" descr="Kolikot tasaisella täytöllä">
            <a:extLst>
              <a:ext uri="{FF2B5EF4-FFF2-40B4-BE49-F238E27FC236}">
                <a16:creationId xmlns:a16="http://schemas.microsoft.com/office/drawing/2014/main" id="{A976AA5E-51CD-DE69-5D46-B3D684DAA4EE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12649200" y="311296"/>
            <a:ext cx="914400" cy="914400"/>
          </a:xfrm>
          <a:prstGeom prst="rect">
            <a:avLst/>
          </a:prstGeom>
        </p:spPr>
      </p:pic>
      <p:pic>
        <p:nvPicPr>
          <p:cNvPr id="12" name="Kuva 11" descr="Kolikot tasaisella täytöllä">
            <a:extLst>
              <a:ext uri="{FF2B5EF4-FFF2-40B4-BE49-F238E27FC236}">
                <a16:creationId xmlns:a16="http://schemas.microsoft.com/office/drawing/2014/main" id="{949101E3-3FF1-F5E7-2FAA-B8A43395FEB3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7241591" y="-862194"/>
            <a:ext cx="338809" cy="33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52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0"/>
                                        <p:tgtEl>
                                          <p:spTgt spid="1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4FBD564-9EEE-26B5-FD1B-CBCFA72983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FBD564-9EEE-26B5-FD1B-CBCFA7298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ackground - Solid">
            <a:extLst>
              <a:ext uri="{FF2B5EF4-FFF2-40B4-BE49-F238E27FC236}">
                <a16:creationId xmlns:a16="http://schemas.microsoft.com/office/drawing/2014/main" id="{E7049466-AE18-5040-B92A-6AF0E9CABD73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solidFill>
            <a:srgbClr val="0D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 dirty="0">
                <a:solidFill>
                  <a:schemeClr val="lt1">
                    <a:alpha val="44000"/>
                  </a:schemeClr>
                </a:solidFill>
              </a:rPr>
              <a:t>aa</a:t>
            </a:r>
          </a:p>
        </p:txBody>
      </p:sp>
      <p:sp>
        <p:nvSpPr>
          <p:cNvPr id="2" name="Background - Solid">
            <a:extLst>
              <a:ext uri="{FF2B5EF4-FFF2-40B4-BE49-F238E27FC236}">
                <a16:creationId xmlns:a16="http://schemas.microsoft.com/office/drawing/2014/main" id="{03FDA3D6-4D6C-FB03-2675-8AFD3951850D}"/>
              </a:ext>
            </a:extLst>
          </p:cNvPr>
          <p:cNvSpPr/>
          <p:nvPr/>
        </p:nvSpPr>
        <p:spPr>
          <a:xfrm>
            <a:off x="0" y="6288394"/>
            <a:ext cx="12188952" cy="569606"/>
          </a:xfrm>
          <a:prstGeom prst="rect">
            <a:avLst/>
          </a:prstGeom>
          <a:gradFill>
            <a:gsLst>
              <a:gs pos="0">
                <a:srgbClr val="0D2240"/>
              </a:gs>
              <a:gs pos="50000">
                <a:srgbClr val="00338D"/>
              </a:gs>
              <a:gs pos="100000">
                <a:srgbClr val="7A2582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44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C1125842-199D-ED16-FC0D-AFBEFD70D88F}"/>
              </a:ext>
            </a:extLst>
          </p:cNvPr>
          <p:cNvSpPr/>
          <p:nvPr/>
        </p:nvSpPr>
        <p:spPr>
          <a:xfrm>
            <a:off x="0" y="-5444"/>
            <a:ext cx="10058399" cy="6869151"/>
          </a:xfrm>
          <a:custGeom>
            <a:avLst/>
            <a:gdLst>
              <a:gd name="connsiteX0" fmla="*/ 0 w 10042071"/>
              <a:gd name="connsiteY0" fmla="*/ 0 h 6858000"/>
              <a:gd name="connsiteX1" fmla="*/ 9724590 w 10042071"/>
              <a:gd name="connsiteY1" fmla="*/ 0 h 6858000"/>
              <a:gd name="connsiteX2" fmla="*/ 9724590 w 10042071"/>
              <a:gd name="connsiteY2" fmla="*/ 1 h 6858000"/>
              <a:gd name="connsiteX3" fmla="*/ 10042071 w 10042071"/>
              <a:gd name="connsiteY3" fmla="*/ 1 h 6858000"/>
              <a:gd name="connsiteX4" fmla="*/ 6082601 w 10042071"/>
              <a:gd name="connsiteY4" fmla="*/ 6858000 h 6858000"/>
              <a:gd name="connsiteX5" fmla="*/ 0 w 10042071"/>
              <a:gd name="connsiteY5" fmla="*/ 6858000 h 6858000"/>
              <a:gd name="connsiteX6" fmla="*/ 0 w 10042071"/>
              <a:gd name="connsiteY6" fmla="*/ 6623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42071" h="6858000">
                <a:moveTo>
                  <a:pt x="0" y="0"/>
                </a:moveTo>
                <a:lnTo>
                  <a:pt x="9724590" y="0"/>
                </a:lnTo>
                <a:lnTo>
                  <a:pt x="9724590" y="1"/>
                </a:lnTo>
                <a:lnTo>
                  <a:pt x="10042071" y="1"/>
                </a:lnTo>
                <a:lnTo>
                  <a:pt x="6082601" y="6858000"/>
                </a:lnTo>
                <a:lnTo>
                  <a:pt x="0" y="6858000"/>
                </a:lnTo>
                <a:lnTo>
                  <a:pt x="0" y="66239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85" tIns="47343" rIns="94685" bIns="47343" rtlCol="0" anchor="ctr">
            <a:noAutofit/>
          </a:bodyPr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  <a:latin typeface="Open Sans Regular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774764" y="1752600"/>
            <a:ext cx="5709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EBB700"/>
                </a:solidFill>
                <a:latin typeface="Arial" charset="0"/>
                <a:ea typeface="Arial" charset="0"/>
                <a:cs typeface="Arial" charset="0"/>
              </a:rPr>
              <a:t>Network &amp; Marketing + External Reach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766858" y="2829758"/>
            <a:ext cx="5709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5C35"/>
                </a:solidFill>
                <a:latin typeface="Arial" charset="0"/>
                <a:ea typeface="Arial" charset="0"/>
                <a:cs typeface="Arial" charset="0"/>
              </a:rPr>
              <a:t>LCIF Project Agreement for MJF Credits </a:t>
            </a:r>
            <a:endParaRPr lang="en-US" sz="2000" dirty="0">
              <a:solidFill>
                <a:srgbClr val="FF5C35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774764" y="3906916"/>
            <a:ext cx="5709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407CCA"/>
                </a:solidFill>
                <a:latin typeface="Arial" charset="0"/>
                <a:ea typeface="Arial" charset="0"/>
                <a:cs typeface="Arial" charset="0"/>
              </a:rPr>
              <a:t>True, Emotional Need &amp; Concrete Product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774764" y="2113345"/>
            <a:ext cx="57098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srgbClr val="55565A"/>
                </a:solidFill>
                <a:latin typeface="Arial" charset="0"/>
                <a:ea typeface="Arial" charset="0"/>
                <a:cs typeface="Arial" charset="0"/>
              </a:rPr>
              <a:t>Lions network utilized effectively to reach donors. There are great opportunities for external crowdfunding reach &amp; online payments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774764" y="3184995"/>
            <a:ext cx="57098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srgbClr val="55565A"/>
                </a:solidFill>
                <a:latin typeface="Arial" charset="0"/>
                <a:ea typeface="Arial" charset="0"/>
                <a:cs typeface="Arial" charset="0"/>
              </a:rPr>
              <a:t>LCIF holds key role in assessing the project (need, production to delivery, and coordinator), and deciding to participate in project.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766858" y="4256645"/>
            <a:ext cx="57098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srgbClr val="55565A"/>
                </a:solidFill>
                <a:latin typeface="Arial" charset="0"/>
                <a:ea typeface="Arial" charset="0"/>
                <a:cs typeface="Arial" charset="0"/>
              </a:rPr>
              <a:t>Project is always based on real need and characterized products in high demand that relatable emotional value to donors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69906" y="5001025"/>
            <a:ext cx="5709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7A2682"/>
                </a:solidFill>
                <a:latin typeface="Arial" charset="0"/>
                <a:ea typeface="Arial" charset="0"/>
                <a:cs typeface="Arial" charset="0"/>
              </a:rPr>
              <a:t>Trusted Contact Person / Coordinator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62000" y="5350754"/>
            <a:ext cx="57098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srgbClr val="55565A"/>
                </a:solidFill>
                <a:latin typeface="Arial" charset="0"/>
                <a:ea typeface="Arial" charset="0"/>
                <a:cs typeface="Arial" charset="0"/>
              </a:rPr>
              <a:t>It is all about trust! LCIF must trust coordinator &amp; team, and donors must be able to trust project team.</a:t>
            </a:r>
          </a:p>
        </p:txBody>
      </p:sp>
      <p:sp>
        <p:nvSpPr>
          <p:cNvPr id="33" name="Page Number - Blue">
            <a:extLst>
              <a:ext uri="{FF2B5EF4-FFF2-40B4-BE49-F238E27FC236}">
                <a16:creationId xmlns:a16="http://schemas.microsoft.com/office/drawing/2014/main" id="{C921C650-0191-EC45-ABD4-267915C858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7156" y="6400725"/>
            <a:ext cx="654844" cy="4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chemeClr val="bg1"/>
                </a:solidFill>
              </a:rPr>
              <a:pPr eaLnBrk="0" hangingPunct="0">
                <a:spcBef>
                  <a:spcPct val="50000"/>
                </a:spcBef>
                <a:defRPr/>
              </a:pPr>
              <a:t>9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96FF7E-BD4A-524F-B602-27D1923168A2}"/>
              </a:ext>
            </a:extLst>
          </p:cNvPr>
          <p:cNvSpPr/>
          <p:nvPr/>
        </p:nvSpPr>
        <p:spPr>
          <a:xfrm>
            <a:off x="0" y="765048"/>
            <a:ext cx="457200" cy="370296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rgbClr val="EBB7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2AF7CE42-4B1D-794D-B265-200C9ADAC108}"/>
              </a:ext>
            </a:extLst>
          </p:cNvPr>
          <p:cNvSpPr txBox="1">
            <a:spLocks/>
          </p:cNvSpPr>
          <p:nvPr/>
        </p:nvSpPr>
        <p:spPr>
          <a:xfrm>
            <a:off x="685800" y="727674"/>
            <a:ext cx="8863264" cy="445043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3600" b="1">
                <a:solidFill>
                  <a:srgbClr val="0A5496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1pPr>
            <a:lvl2pPr marL="519099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None/>
              <a:defRPr sz="4000">
                <a:solidFill>
                  <a:srgbClr val="F0C300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2pPr>
            <a:lvl3pPr marL="914377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4000">
                <a:solidFill>
                  <a:srgbClr val="F0C300"/>
                </a:solidFill>
                <a:latin typeface="Arial" panose="020B0604020202020204" pitchFamily="34" charset="0"/>
                <a:ea typeface="ヒラギノ角ゴ Pro W3" charset="0"/>
                <a:cs typeface="Arial" panose="020B0604020202020204" pitchFamily="34" charset="0"/>
              </a:defRPr>
            </a:lvl3pPr>
            <a:lvl4pPr marL="1371565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4000">
                <a:solidFill>
                  <a:srgbClr val="F0C300"/>
                </a:solidFill>
                <a:latin typeface="+mn-lt"/>
                <a:ea typeface="ヒラギノ角ゴ Pro W3" charset="0"/>
              </a:defRPr>
            </a:lvl4pPr>
            <a:lvl5pPr marL="1828755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4000">
                <a:solidFill>
                  <a:srgbClr val="F0C300"/>
                </a:solidFill>
                <a:latin typeface="+mn-lt"/>
                <a:ea typeface="ヒラギノ角ゴ Pro W3" charset="0"/>
              </a:defRPr>
            </a:lvl5pPr>
            <a:lvl6pPr marL="228594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743131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20032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657509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>
                <a:solidFill>
                  <a:srgbClr val="00338D"/>
                </a:solidFill>
              </a:rPr>
              <a:t>New Productized Crowdfunding Model</a:t>
            </a:r>
          </a:p>
        </p:txBody>
      </p:sp>
      <p:grpSp>
        <p:nvGrpSpPr>
          <p:cNvPr id="11" name="Ryhmä 10">
            <a:extLst>
              <a:ext uri="{FF2B5EF4-FFF2-40B4-BE49-F238E27FC236}">
                <a16:creationId xmlns:a16="http://schemas.microsoft.com/office/drawing/2014/main" id="{0072DE10-EAA9-DD1E-D95E-D22CBEE2EF6F}"/>
              </a:ext>
            </a:extLst>
          </p:cNvPr>
          <p:cNvGrpSpPr/>
          <p:nvPr/>
        </p:nvGrpSpPr>
        <p:grpSpPr>
          <a:xfrm>
            <a:off x="6934200" y="3631935"/>
            <a:ext cx="4257742" cy="2277708"/>
            <a:chOff x="6934200" y="3631935"/>
            <a:chExt cx="4257742" cy="2277708"/>
          </a:xfrm>
        </p:grpSpPr>
        <p:grpSp>
          <p:nvGrpSpPr>
            <p:cNvPr id="15" name="PURPLE level">
              <a:extLst>
                <a:ext uri="{FF2B5EF4-FFF2-40B4-BE49-F238E27FC236}">
                  <a16:creationId xmlns:a16="http://schemas.microsoft.com/office/drawing/2014/main" id="{A9081243-A981-71EF-CEC9-6ADC11E47E12}"/>
                </a:ext>
              </a:extLst>
            </p:cNvPr>
            <p:cNvGrpSpPr/>
            <p:nvPr/>
          </p:nvGrpSpPr>
          <p:grpSpPr>
            <a:xfrm>
              <a:off x="6934200" y="3631935"/>
              <a:ext cx="4257742" cy="2277708"/>
              <a:chOff x="6945768" y="3997587"/>
              <a:chExt cx="4257742" cy="2277708"/>
            </a:xfrm>
          </p:grpSpPr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169DD5C7-3A42-0508-8098-00B3AF387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3997587"/>
                <a:ext cx="4257742" cy="2277708"/>
              </a:xfrm>
              <a:custGeom>
                <a:avLst/>
                <a:gdLst>
                  <a:gd name="connsiteX0" fmla="*/ 2128871 w 4257742"/>
                  <a:gd name="connsiteY0" fmla="*/ 0 h 2277708"/>
                  <a:gd name="connsiteX1" fmla="*/ 3191487 w 4257742"/>
                  <a:gd name="connsiteY1" fmla="*/ 488678 h 2277708"/>
                  <a:gd name="connsiteX2" fmla="*/ 4250433 w 4257742"/>
                  <a:gd name="connsiteY2" fmla="*/ 974006 h 2277708"/>
                  <a:gd name="connsiteX3" fmla="*/ 4257742 w 4257742"/>
                  <a:gd name="connsiteY3" fmla="*/ 970662 h 2277708"/>
                  <a:gd name="connsiteX4" fmla="*/ 4257742 w 4257742"/>
                  <a:gd name="connsiteY4" fmla="*/ 977356 h 2277708"/>
                  <a:gd name="connsiteX5" fmla="*/ 4257742 w 4257742"/>
                  <a:gd name="connsiteY5" fmla="*/ 1300352 h 2277708"/>
                  <a:gd name="connsiteX6" fmla="*/ 2128871 w 4257742"/>
                  <a:gd name="connsiteY6" fmla="*/ 2277708 h 2277708"/>
                  <a:gd name="connsiteX7" fmla="*/ 0 w 4257742"/>
                  <a:gd name="connsiteY7" fmla="*/ 1300352 h 2277708"/>
                  <a:gd name="connsiteX8" fmla="*/ 0 w 4257742"/>
                  <a:gd name="connsiteY8" fmla="*/ 977356 h 2277708"/>
                  <a:gd name="connsiteX9" fmla="*/ 0 w 4257742"/>
                  <a:gd name="connsiteY9" fmla="*/ 970662 h 2277708"/>
                  <a:gd name="connsiteX10" fmla="*/ 7316 w 4257742"/>
                  <a:gd name="connsiteY10" fmla="*/ 974009 h 2277708"/>
                  <a:gd name="connsiteX11" fmla="*/ 1068075 w 4257742"/>
                  <a:gd name="connsiteY11" fmla="*/ 488678 h 2277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57742" h="2277708">
                    <a:moveTo>
                      <a:pt x="2128871" y="0"/>
                    </a:moveTo>
                    <a:lnTo>
                      <a:pt x="3191487" y="488678"/>
                    </a:lnTo>
                    <a:lnTo>
                      <a:pt x="4250433" y="974006"/>
                    </a:lnTo>
                    <a:lnTo>
                      <a:pt x="4257742" y="970662"/>
                    </a:lnTo>
                    <a:lnTo>
                      <a:pt x="4257742" y="977356"/>
                    </a:lnTo>
                    <a:lnTo>
                      <a:pt x="4257742" y="1300352"/>
                    </a:lnTo>
                    <a:lnTo>
                      <a:pt x="2128871" y="2277708"/>
                    </a:lnTo>
                    <a:lnTo>
                      <a:pt x="0" y="1300352"/>
                    </a:lnTo>
                    <a:lnTo>
                      <a:pt x="0" y="977356"/>
                    </a:lnTo>
                    <a:lnTo>
                      <a:pt x="0" y="970662"/>
                    </a:lnTo>
                    <a:lnTo>
                      <a:pt x="7316" y="974009"/>
                    </a:lnTo>
                    <a:lnTo>
                      <a:pt x="1068075" y="488678"/>
                    </a:lnTo>
                    <a:close/>
                  </a:path>
                </a:pathLst>
              </a:custGeom>
              <a:solidFill>
                <a:srgbClr val="7A26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A688792D-4AD1-A7A0-67B8-09ACC4F6B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4968249"/>
                <a:ext cx="2128871" cy="1307046"/>
              </a:xfrm>
              <a:custGeom>
                <a:avLst/>
                <a:gdLst>
                  <a:gd name="T0" fmla="*/ 0 w 1170"/>
                  <a:gd name="T1" fmla="*/ 0 h 781"/>
                  <a:gd name="T2" fmla="*/ 0 w 1170"/>
                  <a:gd name="T3" fmla="*/ 312738 h 781"/>
                  <a:gd name="T4" fmla="*/ 1857375 w 1170"/>
                  <a:gd name="T5" fmla="*/ 1239838 h 781"/>
                  <a:gd name="T6" fmla="*/ 1857375 w 1170"/>
                  <a:gd name="T7" fmla="*/ 923925 h 781"/>
                  <a:gd name="T8" fmla="*/ 0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2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A68C0F06-017C-4479-4137-D41D0CE60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4639" y="4968249"/>
                <a:ext cx="2128871" cy="1307046"/>
              </a:xfrm>
              <a:custGeom>
                <a:avLst/>
                <a:gdLst>
                  <a:gd name="T0" fmla="*/ 1857375 w 1170"/>
                  <a:gd name="T1" fmla="*/ 0 h 781"/>
                  <a:gd name="T2" fmla="*/ 0 w 1170"/>
                  <a:gd name="T3" fmla="*/ 923925 h 781"/>
                  <a:gd name="T4" fmla="*/ 0 w 1170"/>
                  <a:gd name="T5" fmla="*/ 1239838 h 781"/>
                  <a:gd name="T6" fmla="*/ 1857375 w 1170"/>
                  <a:gd name="T7" fmla="*/ 312738 h 781"/>
                  <a:gd name="T8" fmla="*/ 1857375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chemeClr val="tx1">
                  <a:alpha val="4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1" name="Ryhmä 40">
              <a:extLst>
                <a:ext uri="{FF2B5EF4-FFF2-40B4-BE49-F238E27FC236}">
                  <a16:creationId xmlns:a16="http://schemas.microsoft.com/office/drawing/2014/main" id="{C876836F-F973-595C-1FB8-D0C94E9B2C45}"/>
                </a:ext>
              </a:extLst>
            </p:cNvPr>
            <p:cNvGrpSpPr/>
            <p:nvPr/>
          </p:nvGrpSpPr>
          <p:grpSpPr>
            <a:xfrm>
              <a:off x="7519297" y="4050193"/>
              <a:ext cx="2029767" cy="1619746"/>
              <a:chOff x="7519297" y="4050193"/>
              <a:chExt cx="2029767" cy="1619746"/>
            </a:xfrm>
          </p:grpSpPr>
          <p:pic>
            <p:nvPicPr>
              <p:cNvPr id="39" name="Kuva 38" descr="Toimisto työntekijä mies tasaisella täytöllä">
                <a:extLst>
                  <a:ext uri="{FF2B5EF4-FFF2-40B4-BE49-F238E27FC236}">
                    <a16:creationId xmlns:a16="http://schemas.microsoft.com/office/drawing/2014/main" id="{B3B35D01-ADBE-C628-0372-7A072DDF29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481921" y="4602796"/>
                <a:ext cx="1067143" cy="1067143"/>
              </a:xfrm>
              <a:prstGeom prst="rect">
                <a:avLst/>
              </a:prstGeom>
              <a:scene3d>
                <a:camera prst="orthographicFront">
                  <a:rot lat="19200000" lon="1920000" rev="18780000"/>
                </a:camera>
                <a:lightRig rig="threePt" dir="t"/>
              </a:scene3d>
            </p:spPr>
          </p:pic>
          <p:pic>
            <p:nvPicPr>
              <p:cNvPr id="40" name="Kuva 39" descr="Sosiaalinen verkosto tasaisella täytöllä">
                <a:extLst>
                  <a:ext uri="{FF2B5EF4-FFF2-40B4-BE49-F238E27FC236}">
                    <a16:creationId xmlns:a16="http://schemas.microsoft.com/office/drawing/2014/main" id="{56D5F54C-87B6-605D-D1B8-2C7041CE5F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519297" y="4050193"/>
                <a:ext cx="1372039" cy="1372039"/>
              </a:xfrm>
              <a:prstGeom prst="rect">
                <a:avLst/>
              </a:prstGeom>
              <a:scene3d>
                <a:camera prst="orthographicFront">
                  <a:rot lat="19200000" lon="1920000" rev="18780000"/>
                </a:camera>
                <a:lightRig rig="threePt" dir="t"/>
              </a:scene3d>
            </p:spPr>
          </p:pic>
        </p:grpSp>
      </p:grpSp>
      <p:grpSp>
        <p:nvGrpSpPr>
          <p:cNvPr id="9" name="Ryhmä 8">
            <a:extLst>
              <a:ext uri="{FF2B5EF4-FFF2-40B4-BE49-F238E27FC236}">
                <a16:creationId xmlns:a16="http://schemas.microsoft.com/office/drawing/2014/main" id="{3E76E433-660F-5EAF-B57F-91826274A8AD}"/>
              </a:ext>
            </a:extLst>
          </p:cNvPr>
          <p:cNvGrpSpPr/>
          <p:nvPr/>
        </p:nvGrpSpPr>
        <p:grpSpPr>
          <a:xfrm>
            <a:off x="6934200" y="2878490"/>
            <a:ext cx="4257742" cy="2277708"/>
            <a:chOff x="6934200" y="2878490"/>
            <a:chExt cx="4257742" cy="2277708"/>
          </a:xfrm>
        </p:grpSpPr>
        <p:grpSp>
          <p:nvGrpSpPr>
            <p:cNvPr id="16" name="BLUE level">
              <a:extLst>
                <a:ext uri="{FF2B5EF4-FFF2-40B4-BE49-F238E27FC236}">
                  <a16:creationId xmlns:a16="http://schemas.microsoft.com/office/drawing/2014/main" id="{390D2A42-82AC-3C49-FF80-68B0D7185BA4}"/>
                </a:ext>
              </a:extLst>
            </p:cNvPr>
            <p:cNvGrpSpPr/>
            <p:nvPr/>
          </p:nvGrpSpPr>
          <p:grpSpPr>
            <a:xfrm>
              <a:off x="6934200" y="2878490"/>
              <a:ext cx="4257742" cy="2277708"/>
              <a:chOff x="6945768" y="3997587"/>
              <a:chExt cx="4257742" cy="2277708"/>
            </a:xfrm>
          </p:grpSpPr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3035BBAA-4BDB-989C-9A6A-351BD5545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3997587"/>
                <a:ext cx="4257742" cy="2277708"/>
              </a:xfrm>
              <a:custGeom>
                <a:avLst/>
                <a:gdLst>
                  <a:gd name="connsiteX0" fmla="*/ 2128871 w 4257742"/>
                  <a:gd name="connsiteY0" fmla="*/ 0 h 2277708"/>
                  <a:gd name="connsiteX1" fmla="*/ 3191487 w 4257742"/>
                  <a:gd name="connsiteY1" fmla="*/ 488678 h 2277708"/>
                  <a:gd name="connsiteX2" fmla="*/ 4250433 w 4257742"/>
                  <a:gd name="connsiteY2" fmla="*/ 974006 h 2277708"/>
                  <a:gd name="connsiteX3" fmla="*/ 4257742 w 4257742"/>
                  <a:gd name="connsiteY3" fmla="*/ 970662 h 2277708"/>
                  <a:gd name="connsiteX4" fmla="*/ 4257742 w 4257742"/>
                  <a:gd name="connsiteY4" fmla="*/ 977356 h 2277708"/>
                  <a:gd name="connsiteX5" fmla="*/ 4257742 w 4257742"/>
                  <a:gd name="connsiteY5" fmla="*/ 1300352 h 2277708"/>
                  <a:gd name="connsiteX6" fmla="*/ 2128871 w 4257742"/>
                  <a:gd name="connsiteY6" fmla="*/ 2277708 h 2277708"/>
                  <a:gd name="connsiteX7" fmla="*/ 0 w 4257742"/>
                  <a:gd name="connsiteY7" fmla="*/ 1300352 h 2277708"/>
                  <a:gd name="connsiteX8" fmla="*/ 0 w 4257742"/>
                  <a:gd name="connsiteY8" fmla="*/ 977356 h 2277708"/>
                  <a:gd name="connsiteX9" fmla="*/ 0 w 4257742"/>
                  <a:gd name="connsiteY9" fmla="*/ 970662 h 2277708"/>
                  <a:gd name="connsiteX10" fmla="*/ 7316 w 4257742"/>
                  <a:gd name="connsiteY10" fmla="*/ 974009 h 2277708"/>
                  <a:gd name="connsiteX11" fmla="*/ 1068075 w 4257742"/>
                  <a:gd name="connsiteY11" fmla="*/ 488678 h 2277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57742" h="2277708">
                    <a:moveTo>
                      <a:pt x="2128871" y="0"/>
                    </a:moveTo>
                    <a:lnTo>
                      <a:pt x="3191487" y="488678"/>
                    </a:lnTo>
                    <a:lnTo>
                      <a:pt x="4250433" y="974006"/>
                    </a:lnTo>
                    <a:lnTo>
                      <a:pt x="4257742" y="970662"/>
                    </a:lnTo>
                    <a:lnTo>
                      <a:pt x="4257742" y="977356"/>
                    </a:lnTo>
                    <a:lnTo>
                      <a:pt x="4257742" y="1300352"/>
                    </a:lnTo>
                    <a:lnTo>
                      <a:pt x="2128871" y="2277708"/>
                    </a:lnTo>
                    <a:lnTo>
                      <a:pt x="0" y="1300352"/>
                    </a:lnTo>
                    <a:lnTo>
                      <a:pt x="0" y="977356"/>
                    </a:lnTo>
                    <a:lnTo>
                      <a:pt x="0" y="970662"/>
                    </a:lnTo>
                    <a:lnTo>
                      <a:pt x="7316" y="974009"/>
                    </a:lnTo>
                    <a:lnTo>
                      <a:pt x="1068075" y="488678"/>
                    </a:lnTo>
                    <a:close/>
                  </a:path>
                </a:pathLst>
              </a:custGeom>
              <a:solidFill>
                <a:srgbClr val="407C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0FAD1C21-5F87-9A05-A803-CA398C761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4968249"/>
                <a:ext cx="2128871" cy="1307046"/>
              </a:xfrm>
              <a:custGeom>
                <a:avLst/>
                <a:gdLst>
                  <a:gd name="T0" fmla="*/ 0 w 1170"/>
                  <a:gd name="T1" fmla="*/ 0 h 781"/>
                  <a:gd name="T2" fmla="*/ 0 w 1170"/>
                  <a:gd name="T3" fmla="*/ 312738 h 781"/>
                  <a:gd name="T4" fmla="*/ 1857375 w 1170"/>
                  <a:gd name="T5" fmla="*/ 1239838 h 781"/>
                  <a:gd name="T6" fmla="*/ 1857375 w 1170"/>
                  <a:gd name="T7" fmla="*/ 923925 h 781"/>
                  <a:gd name="T8" fmla="*/ 0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2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5852DEB4-DA31-1F4B-A82E-317FD7E55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4639" y="4968249"/>
                <a:ext cx="2128871" cy="1307046"/>
              </a:xfrm>
              <a:custGeom>
                <a:avLst/>
                <a:gdLst>
                  <a:gd name="T0" fmla="*/ 1857375 w 1170"/>
                  <a:gd name="T1" fmla="*/ 0 h 781"/>
                  <a:gd name="T2" fmla="*/ 0 w 1170"/>
                  <a:gd name="T3" fmla="*/ 923925 h 781"/>
                  <a:gd name="T4" fmla="*/ 0 w 1170"/>
                  <a:gd name="T5" fmla="*/ 1239838 h 781"/>
                  <a:gd name="T6" fmla="*/ 1857375 w 1170"/>
                  <a:gd name="T7" fmla="*/ 312738 h 781"/>
                  <a:gd name="T8" fmla="*/ 1857375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chemeClr val="tx1">
                  <a:alpha val="4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8" name="COGWHEEL">
              <a:extLst>
                <a:ext uri="{FF2B5EF4-FFF2-40B4-BE49-F238E27FC236}">
                  <a16:creationId xmlns:a16="http://schemas.microsoft.com/office/drawing/2014/main" id="{F4323670-F13C-B1F7-E9BE-C320AB46E123}"/>
                </a:ext>
              </a:extLst>
            </p:cNvPr>
            <p:cNvGrpSpPr/>
            <p:nvPr/>
          </p:nvGrpSpPr>
          <p:grpSpPr>
            <a:xfrm>
              <a:off x="7580752" y="3124200"/>
              <a:ext cx="2271533" cy="1870255"/>
              <a:chOff x="7580752" y="3124200"/>
              <a:chExt cx="2271533" cy="1870255"/>
            </a:xfrm>
          </p:grpSpPr>
          <p:pic>
            <p:nvPicPr>
              <p:cNvPr id="8" name="Kuva 7" descr="Lohkoketju tasaisella täytöllä">
                <a:extLst>
                  <a:ext uri="{FF2B5EF4-FFF2-40B4-BE49-F238E27FC236}">
                    <a16:creationId xmlns:a16="http://schemas.microsoft.com/office/drawing/2014/main" id="{CF90748F-4CCD-F43D-46FD-C6FE6DF689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580752" y="3124200"/>
                <a:ext cx="1410848" cy="1410848"/>
              </a:xfrm>
              <a:prstGeom prst="rect">
                <a:avLst/>
              </a:prstGeom>
              <a:scene3d>
                <a:camera prst="orthographicFront">
                  <a:rot lat="19200000" lon="1920000" rev="18780000"/>
                </a:camera>
                <a:lightRig rig="threePt" dir="t"/>
              </a:scene3d>
            </p:spPr>
          </p:pic>
          <p:pic>
            <p:nvPicPr>
              <p:cNvPr id="10" name="Kuva 9" descr="Hammasrattaat tasaisella täytöllä">
                <a:extLst>
                  <a:ext uri="{FF2B5EF4-FFF2-40B4-BE49-F238E27FC236}">
                    <a16:creationId xmlns:a16="http://schemas.microsoft.com/office/drawing/2014/main" id="{A35F6906-855D-BC20-D55E-6AAC573A46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562921" y="3705091"/>
                <a:ext cx="1289364" cy="1289364"/>
              </a:xfrm>
              <a:prstGeom prst="rect">
                <a:avLst/>
              </a:prstGeom>
              <a:scene3d>
                <a:camera prst="orthographicFront">
                  <a:rot lat="19200000" lon="1920000" rev="18780000"/>
                </a:camera>
                <a:lightRig rig="threePt" dir="t"/>
              </a:scene3d>
            </p:spPr>
          </p:pic>
        </p:grpSp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ECFD6742-4051-9FE8-8158-9949BFF7844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0728" y="413948"/>
            <a:ext cx="739156" cy="70219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752C2BCF-F23E-CB7E-6FE6-F9D39AF62D1D}"/>
              </a:ext>
            </a:extLst>
          </p:cNvPr>
          <p:cNvGrpSpPr/>
          <p:nvPr/>
        </p:nvGrpSpPr>
        <p:grpSpPr>
          <a:xfrm>
            <a:off x="6934200" y="2125045"/>
            <a:ext cx="4257742" cy="2277708"/>
            <a:chOff x="6934200" y="2125045"/>
            <a:chExt cx="4257742" cy="2277708"/>
          </a:xfrm>
        </p:grpSpPr>
        <p:grpSp>
          <p:nvGrpSpPr>
            <p:cNvPr id="17" name="ORANGE level">
              <a:extLst>
                <a:ext uri="{FF2B5EF4-FFF2-40B4-BE49-F238E27FC236}">
                  <a16:creationId xmlns:a16="http://schemas.microsoft.com/office/drawing/2014/main" id="{E3031AAE-2F0F-588C-5AB0-EE4D43EE3063}"/>
                </a:ext>
              </a:extLst>
            </p:cNvPr>
            <p:cNvGrpSpPr/>
            <p:nvPr/>
          </p:nvGrpSpPr>
          <p:grpSpPr>
            <a:xfrm>
              <a:off x="6934200" y="2125045"/>
              <a:ext cx="4257742" cy="2277708"/>
              <a:chOff x="6945768" y="3997587"/>
              <a:chExt cx="4257742" cy="2277708"/>
            </a:xfrm>
          </p:grpSpPr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56D1E3-D496-0092-DB11-FB2603D05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3997587"/>
                <a:ext cx="4257742" cy="2277708"/>
              </a:xfrm>
              <a:custGeom>
                <a:avLst/>
                <a:gdLst>
                  <a:gd name="connsiteX0" fmla="*/ 2128871 w 4257742"/>
                  <a:gd name="connsiteY0" fmla="*/ 0 h 2277708"/>
                  <a:gd name="connsiteX1" fmla="*/ 3191487 w 4257742"/>
                  <a:gd name="connsiteY1" fmla="*/ 488678 h 2277708"/>
                  <a:gd name="connsiteX2" fmla="*/ 4250433 w 4257742"/>
                  <a:gd name="connsiteY2" fmla="*/ 974006 h 2277708"/>
                  <a:gd name="connsiteX3" fmla="*/ 4257742 w 4257742"/>
                  <a:gd name="connsiteY3" fmla="*/ 970662 h 2277708"/>
                  <a:gd name="connsiteX4" fmla="*/ 4257742 w 4257742"/>
                  <a:gd name="connsiteY4" fmla="*/ 977356 h 2277708"/>
                  <a:gd name="connsiteX5" fmla="*/ 4257742 w 4257742"/>
                  <a:gd name="connsiteY5" fmla="*/ 1300352 h 2277708"/>
                  <a:gd name="connsiteX6" fmla="*/ 2128871 w 4257742"/>
                  <a:gd name="connsiteY6" fmla="*/ 2277708 h 2277708"/>
                  <a:gd name="connsiteX7" fmla="*/ 0 w 4257742"/>
                  <a:gd name="connsiteY7" fmla="*/ 1300352 h 2277708"/>
                  <a:gd name="connsiteX8" fmla="*/ 0 w 4257742"/>
                  <a:gd name="connsiteY8" fmla="*/ 977356 h 2277708"/>
                  <a:gd name="connsiteX9" fmla="*/ 0 w 4257742"/>
                  <a:gd name="connsiteY9" fmla="*/ 970662 h 2277708"/>
                  <a:gd name="connsiteX10" fmla="*/ 7316 w 4257742"/>
                  <a:gd name="connsiteY10" fmla="*/ 974009 h 2277708"/>
                  <a:gd name="connsiteX11" fmla="*/ 1068075 w 4257742"/>
                  <a:gd name="connsiteY11" fmla="*/ 488678 h 2277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57742" h="2277708">
                    <a:moveTo>
                      <a:pt x="2128871" y="0"/>
                    </a:moveTo>
                    <a:lnTo>
                      <a:pt x="3191487" y="488678"/>
                    </a:lnTo>
                    <a:lnTo>
                      <a:pt x="4250433" y="974006"/>
                    </a:lnTo>
                    <a:lnTo>
                      <a:pt x="4257742" y="970662"/>
                    </a:lnTo>
                    <a:lnTo>
                      <a:pt x="4257742" y="977356"/>
                    </a:lnTo>
                    <a:lnTo>
                      <a:pt x="4257742" y="1300352"/>
                    </a:lnTo>
                    <a:lnTo>
                      <a:pt x="2128871" y="2277708"/>
                    </a:lnTo>
                    <a:lnTo>
                      <a:pt x="0" y="1300352"/>
                    </a:lnTo>
                    <a:lnTo>
                      <a:pt x="0" y="977356"/>
                    </a:lnTo>
                    <a:lnTo>
                      <a:pt x="0" y="970662"/>
                    </a:lnTo>
                    <a:lnTo>
                      <a:pt x="7316" y="974009"/>
                    </a:lnTo>
                    <a:lnTo>
                      <a:pt x="1068075" y="488678"/>
                    </a:lnTo>
                    <a:close/>
                  </a:path>
                </a:pathLst>
              </a:custGeom>
              <a:solidFill>
                <a:srgbClr val="FF5C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56E13BAE-292F-3A69-90EF-94F380E01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4968249"/>
                <a:ext cx="2128871" cy="1307046"/>
              </a:xfrm>
              <a:custGeom>
                <a:avLst/>
                <a:gdLst>
                  <a:gd name="T0" fmla="*/ 0 w 1170"/>
                  <a:gd name="T1" fmla="*/ 0 h 781"/>
                  <a:gd name="T2" fmla="*/ 0 w 1170"/>
                  <a:gd name="T3" fmla="*/ 312738 h 781"/>
                  <a:gd name="T4" fmla="*/ 1857375 w 1170"/>
                  <a:gd name="T5" fmla="*/ 1239838 h 781"/>
                  <a:gd name="T6" fmla="*/ 1857375 w 1170"/>
                  <a:gd name="T7" fmla="*/ 923925 h 781"/>
                  <a:gd name="T8" fmla="*/ 0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2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9B3656DF-EA43-58C5-25E8-148CDD5BD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4639" y="4968249"/>
                <a:ext cx="2128871" cy="1307046"/>
              </a:xfrm>
              <a:custGeom>
                <a:avLst/>
                <a:gdLst>
                  <a:gd name="T0" fmla="*/ 1857375 w 1170"/>
                  <a:gd name="T1" fmla="*/ 0 h 781"/>
                  <a:gd name="T2" fmla="*/ 0 w 1170"/>
                  <a:gd name="T3" fmla="*/ 923925 h 781"/>
                  <a:gd name="T4" fmla="*/ 0 w 1170"/>
                  <a:gd name="T5" fmla="*/ 1239838 h 781"/>
                  <a:gd name="T6" fmla="*/ 1857375 w 1170"/>
                  <a:gd name="T7" fmla="*/ 312738 h 781"/>
                  <a:gd name="T8" fmla="*/ 1857375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chemeClr val="tx1">
                  <a:alpha val="4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pic>
          <p:nvPicPr>
            <p:cNvPr id="5" name="Picture 7">
              <a:extLst>
                <a:ext uri="{FF2B5EF4-FFF2-40B4-BE49-F238E27FC236}">
                  <a16:creationId xmlns:a16="http://schemas.microsoft.com/office/drawing/2014/main" id="{E7A54EDA-BDCE-B03A-3514-067AB7723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660091" y="2208939"/>
              <a:ext cx="2407274" cy="1838626"/>
            </a:xfrm>
            <a:prstGeom prst="rect">
              <a:avLst/>
            </a:prstGeom>
            <a:scene3d>
              <a:camera prst="orthographicFront">
                <a:rot lat="19001798" lon="2974917" rev="17844509"/>
              </a:camera>
              <a:lightRig rig="threePt" dir="t"/>
            </a:scene3d>
          </p:spPr>
        </p:pic>
      </p:grpSp>
      <p:grpSp>
        <p:nvGrpSpPr>
          <p:cNvPr id="4" name="Ryhmä 3">
            <a:extLst>
              <a:ext uri="{FF2B5EF4-FFF2-40B4-BE49-F238E27FC236}">
                <a16:creationId xmlns:a16="http://schemas.microsoft.com/office/drawing/2014/main" id="{10B0992B-ED6A-A7B9-0C31-909BD74BB4D3}"/>
              </a:ext>
            </a:extLst>
          </p:cNvPr>
          <p:cNvGrpSpPr/>
          <p:nvPr/>
        </p:nvGrpSpPr>
        <p:grpSpPr>
          <a:xfrm>
            <a:off x="6934200" y="1219200"/>
            <a:ext cx="4257742" cy="2430108"/>
            <a:chOff x="6934200" y="1219200"/>
            <a:chExt cx="4257742" cy="2430108"/>
          </a:xfrm>
        </p:grpSpPr>
        <p:grpSp>
          <p:nvGrpSpPr>
            <p:cNvPr id="20" name="AMBER level">
              <a:extLst>
                <a:ext uri="{FF2B5EF4-FFF2-40B4-BE49-F238E27FC236}">
                  <a16:creationId xmlns:a16="http://schemas.microsoft.com/office/drawing/2014/main" id="{0F467040-95A9-FF8C-1122-CD46343DA183}"/>
                </a:ext>
              </a:extLst>
            </p:cNvPr>
            <p:cNvGrpSpPr/>
            <p:nvPr/>
          </p:nvGrpSpPr>
          <p:grpSpPr>
            <a:xfrm>
              <a:off x="6934200" y="1371600"/>
              <a:ext cx="4257742" cy="2277708"/>
              <a:chOff x="6945768" y="3997587"/>
              <a:chExt cx="4257742" cy="2277708"/>
            </a:xfrm>
          </p:grpSpPr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F3F527D8-563D-BEFE-33AD-46C36D2676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3997587"/>
                <a:ext cx="4257742" cy="2277708"/>
              </a:xfrm>
              <a:custGeom>
                <a:avLst/>
                <a:gdLst>
                  <a:gd name="connsiteX0" fmla="*/ 2128871 w 4257742"/>
                  <a:gd name="connsiteY0" fmla="*/ 0 h 2277708"/>
                  <a:gd name="connsiteX1" fmla="*/ 3191487 w 4257742"/>
                  <a:gd name="connsiteY1" fmla="*/ 488678 h 2277708"/>
                  <a:gd name="connsiteX2" fmla="*/ 4250433 w 4257742"/>
                  <a:gd name="connsiteY2" fmla="*/ 974006 h 2277708"/>
                  <a:gd name="connsiteX3" fmla="*/ 4257742 w 4257742"/>
                  <a:gd name="connsiteY3" fmla="*/ 970662 h 2277708"/>
                  <a:gd name="connsiteX4" fmla="*/ 4257742 w 4257742"/>
                  <a:gd name="connsiteY4" fmla="*/ 977356 h 2277708"/>
                  <a:gd name="connsiteX5" fmla="*/ 4257742 w 4257742"/>
                  <a:gd name="connsiteY5" fmla="*/ 1300352 h 2277708"/>
                  <a:gd name="connsiteX6" fmla="*/ 2128871 w 4257742"/>
                  <a:gd name="connsiteY6" fmla="*/ 2277708 h 2277708"/>
                  <a:gd name="connsiteX7" fmla="*/ 0 w 4257742"/>
                  <a:gd name="connsiteY7" fmla="*/ 1300352 h 2277708"/>
                  <a:gd name="connsiteX8" fmla="*/ 0 w 4257742"/>
                  <a:gd name="connsiteY8" fmla="*/ 977356 h 2277708"/>
                  <a:gd name="connsiteX9" fmla="*/ 0 w 4257742"/>
                  <a:gd name="connsiteY9" fmla="*/ 970662 h 2277708"/>
                  <a:gd name="connsiteX10" fmla="*/ 7316 w 4257742"/>
                  <a:gd name="connsiteY10" fmla="*/ 974009 h 2277708"/>
                  <a:gd name="connsiteX11" fmla="*/ 1068075 w 4257742"/>
                  <a:gd name="connsiteY11" fmla="*/ 488678 h 2277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57742" h="2277708">
                    <a:moveTo>
                      <a:pt x="2128871" y="0"/>
                    </a:moveTo>
                    <a:lnTo>
                      <a:pt x="3191487" y="488678"/>
                    </a:lnTo>
                    <a:lnTo>
                      <a:pt x="4250433" y="974006"/>
                    </a:lnTo>
                    <a:lnTo>
                      <a:pt x="4257742" y="970662"/>
                    </a:lnTo>
                    <a:lnTo>
                      <a:pt x="4257742" y="977356"/>
                    </a:lnTo>
                    <a:lnTo>
                      <a:pt x="4257742" y="1300352"/>
                    </a:lnTo>
                    <a:lnTo>
                      <a:pt x="2128871" y="2277708"/>
                    </a:lnTo>
                    <a:lnTo>
                      <a:pt x="0" y="1300352"/>
                    </a:lnTo>
                    <a:lnTo>
                      <a:pt x="0" y="977356"/>
                    </a:lnTo>
                    <a:lnTo>
                      <a:pt x="0" y="970662"/>
                    </a:lnTo>
                    <a:lnTo>
                      <a:pt x="7316" y="974009"/>
                    </a:lnTo>
                    <a:lnTo>
                      <a:pt x="1068075" y="488678"/>
                    </a:lnTo>
                    <a:close/>
                  </a:path>
                </a:pathLst>
              </a:custGeom>
              <a:solidFill>
                <a:srgbClr val="EBB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093FD8BA-9FE1-8AA7-7EF1-1D8C5CE4B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768" y="4968249"/>
                <a:ext cx="2128871" cy="1307046"/>
              </a:xfrm>
              <a:custGeom>
                <a:avLst/>
                <a:gdLst>
                  <a:gd name="T0" fmla="*/ 0 w 1170"/>
                  <a:gd name="T1" fmla="*/ 0 h 781"/>
                  <a:gd name="T2" fmla="*/ 0 w 1170"/>
                  <a:gd name="T3" fmla="*/ 312738 h 781"/>
                  <a:gd name="T4" fmla="*/ 1857375 w 1170"/>
                  <a:gd name="T5" fmla="*/ 1239838 h 781"/>
                  <a:gd name="T6" fmla="*/ 1857375 w 1170"/>
                  <a:gd name="T7" fmla="*/ 923925 h 781"/>
                  <a:gd name="T8" fmla="*/ 0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2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F7FFD319-EE5B-631C-C3C2-AF4E8884D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4639" y="4968249"/>
                <a:ext cx="2128871" cy="1307046"/>
              </a:xfrm>
              <a:custGeom>
                <a:avLst/>
                <a:gdLst>
                  <a:gd name="T0" fmla="*/ 1857375 w 1170"/>
                  <a:gd name="T1" fmla="*/ 0 h 781"/>
                  <a:gd name="T2" fmla="*/ 0 w 1170"/>
                  <a:gd name="T3" fmla="*/ 923925 h 781"/>
                  <a:gd name="T4" fmla="*/ 0 w 1170"/>
                  <a:gd name="T5" fmla="*/ 1239838 h 781"/>
                  <a:gd name="T6" fmla="*/ 1857375 w 1170"/>
                  <a:gd name="T7" fmla="*/ 312738 h 781"/>
                  <a:gd name="T8" fmla="*/ 1857375 w 1170"/>
                  <a:gd name="T9" fmla="*/ 0 h 7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0" h="781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chemeClr val="tx1">
                  <a:alpha val="40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pic>
          <p:nvPicPr>
            <p:cNvPr id="3" name="Kuva 2" descr="Yhteydet tasaisella täytöllä">
              <a:extLst>
                <a:ext uri="{FF2B5EF4-FFF2-40B4-BE49-F238E27FC236}">
                  <a16:creationId xmlns:a16="http://schemas.microsoft.com/office/drawing/2014/main" id="{DA96799A-CDD6-FF47-9562-C512F905D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848600" y="1219200"/>
              <a:ext cx="2277708" cy="2277708"/>
            </a:xfrm>
            <a:prstGeom prst="rect">
              <a:avLst/>
            </a:prstGeom>
            <a:scene3d>
              <a:camera prst="orthographicFront">
                <a:rot lat="19236563" lon="1957801" rev="18780812"/>
              </a:camera>
              <a:lightRig rig="threePt" dir="t"/>
            </a:scene3d>
          </p:spPr>
        </p:pic>
      </p:grpSp>
    </p:spTree>
    <p:extLst>
      <p:ext uri="{BB962C8B-B14F-4D97-AF65-F5344CB8AC3E}">
        <p14:creationId xmlns:p14="http://schemas.microsoft.com/office/powerpoint/2010/main" val="2730156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CDE4B5D_48A6_41F3_A918_89E285DEBB0F&quot;,&quot;SourceFullName&quot;:&quot;C:\\Users\\antti\\AppData\\Local\\Microsoft\\Windows\\INetCache\\Content.Outlook\\8RW4JJTF\\Total by country.xlsx&quot;,&quot;LastUpdate&quot;:&quot;2024-09-02 2:39 PM&quot;,&quot;UpdatedBy&quot;:&quot;antti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CIF">
      <a:dk1>
        <a:srgbClr val="555659"/>
      </a:dk1>
      <a:lt1>
        <a:srgbClr val="FEFFFF"/>
      </a:lt1>
      <a:dk2>
        <a:srgbClr val="00338D"/>
      </a:dk2>
      <a:lt2>
        <a:srgbClr val="B3B2B1"/>
      </a:lt2>
      <a:accent1>
        <a:srgbClr val="0D2140"/>
      </a:accent1>
      <a:accent2>
        <a:srgbClr val="EBB700"/>
      </a:accent2>
      <a:accent3>
        <a:srgbClr val="407CCA"/>
      </a:accent3>
      <a:accent4>
        <a:srgbClr val="792482"/>
      </a:accent4>
      <a:accent5>
        <a:srgbClr val="00AB68"/>
      </a:accent5>
      <a:accent6>
        <a:srgbClr val="FF5B34"/>
      </a:accent6>
      <a:hlink>
        <a:srgbClr val="004DD5"/>
      </a:hlink>
      <a:folHlink>
        <a:srgbClr val="B4250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eme1">
  <a:themeElements>
    <a:clrScheme name="Lions Club International">
      <a:dk1>
        <a:srgbClr val="00338D"/>
      </a:dk1>
      <a:lt1>
        <a:srgbClr val="FFFFFF"/>
      </a:lt1>
      <a:dk2>
        <a:srgbClr val="555659"/>
      </a:dk2>
      <a:lt2>
        <a:srgbClr val="B3B2B1"/>
      </a:lt2>
      <a:accent1>
        <a:srgbClr val="0D2140"/>
      </a:accent1>
      <a:accent2>
        <a:srgbClr val="EBB700"/>
      </a:accent2>
      <a:accent3>
        <a:srgbClr val="407CCA"/>
      </a:accent3>
      <a:accent4>
        <a:srgbClr val="792482"/>
      </a:accent4>
      <a:accent5>
        <a:srgbClr val="00AB68"/>
      </a:accent5>
      <a:accent6>
        <a:srgbClr val="FF5B34"/>
      </a:accent6>
      <a:hlink>
        <a:srgbClr val="004DD5"/>
      </a:hlink>
      <a:folHlink>
        <a:srgbClr val="B42504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F014A8C7-3C32-4B6B-A0EB-F21DFCE5E870}" vid="{AB598437-081B-4B8D-84B4-C2A4B47BDD7E}"/>
    </a:ext>
  </a:extLst>
</a:theme>
</file>

<file path=ppt/theme/theme3.xml><?xml version="1.0" encoding="utf-8"?>
<a:theme xmlns:a="http://schemas.openxmlformats.org/drawingml/2006/main" name="Blue Page Number">
  <a:themeElements>
    <a:clrScheme name="Lions Club International">
      <a:dk1>
        <a:srgbClr val="33373B"/>
      </a:dk1>
      <a:lt1>
        <a:sysClr val="window" lastClr="FFFFFF"/>
      </a:lt1>
      <a:dk2>
        <a:srgbClr val="002F87"/>
      </a:dk2>
      <a:lt2>
        <a:srgbClr val="FFD000"/>
      </a:lt2>
      <a:accent1>
        <a:srgbClr val="FFC000"/>
      </a:accent1>
      <a:accent2>
        <a:srgbClr val="D9D9D9"/>
      </a:accent2>
      <a:accent3>
        <a:srgbClr val="00A7DC"/>
      </a:accent3>
      <a:accent4>
        <a:srgbClr val="F65126"/>
      </a:accent4>
      <a:accent5>
        <a:srgbClr val="00AF66"/>
      </a:accent5>
      <a:accent6>
        <a:srgbClr val="000000"/>
      </a:accent6>
      <a:hlink>
        <a:srgbClr val="C3C3C3"/>
      </a:hlink>
      <a:folHlink>
        <a:srgbClr val="D9D9D9"/>
      </a:folHlink>
    </a:clrScheme>
    <a:fontScheme name="Custom 1">
      <a:majorFont>
        <a:latin typeface="Segoe UI Light"/>
        <a:ea typeface=""/>
        <a:cs typeface=""/>
      </a:majorFont>
      <a:minorFont>
        <a:latin typeface="Segoe UI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609600" marR="0" indent="-609600" algn="ctr" defTabSz="914400" rtl="0" eaLnBrk="1" fontAlgn="base" latinLnBrk="0" hangingPunct="1">
          <a:spcAft>
            <a:spcPct val="0"/>
          </a:spcAft>
          <a:buClrTx/>
          <a:buSzTx/>
          <a:buFont typeface="Helvetica" pitchFamily="84" charset="0"/>
          <a:buNone/>
          <a:tabLst/>
          <a:defRPr kumimoji="0" sz="3000" b="0" i="0" u="none" strike="noStrike" cap="none" normalizeH="0" dirty="0" err="1" smtClean="0">
            <a:ln>
              <a:noFill/>
            </a:ln>
            <a:solidFill>
              <a:srgbClr val="404040"/>
            </a:solidFill>
            <a:effectLst/>
            <a:ea typeface="ヒラギノ角ゴ Pro W3" pitchFamily="8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609600" marR="0" indent="-609600" algn="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 typeface="Helvetica" pitchFamily="84" charset="0"/>
          <a:buNone/>
          <a:tabLst/>
          <a:defRPr kumimoji="0" lang="en-US" sz="3200" b="0" i="0" u="none" strike="noStrike" cap="none" normalizeH="0" baseline="-25000" smtClean="0">
            <a:ln>
              <a:noFill/>
            </a:ln>
            <a:solidFill>
              <a:srgbClr val="404040"/>
            </a:solidFill>
            <a:effectLst/>
            <a:latin typeface="Helvetica" pitchFamily="84" charset="0"/>
            <a:ea typeface="ヒラギノ角ゴ Pro W3" pitchFamily="8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3000" dirty="0" err="1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heme1">
  <a:themeElements>
    <a:clrScheme name="Lions Club International">
      <a:dk1>
        <a:srgbClr val="00338D"/>
      </a:dk1>
      <a:lt1>
        <a:srgbClr val="FFFFFF"/>
      </a:lt1>
      <a:dk2>
        <a:srgbClr val="555659"/>
      </a:dk2>
      <a:lt2>
        <a:srgbClr val="B3B2B1"/>
      </a:lt2>
      <a:accent1>
        <a:srgbClr val="0D2140"/>
      </a:accent1>
      <a:accent2>
        <a:srgbClr val="EBB700"/>
      </a:accent2>
      <a:accent3>
        <a:srgbClr val="407CCA"/>
      </a:accent3>
      <a:accent4>
        <a:srgbClr val="792482"/>
      </a:accent4>
      <a:accent5>
        <a:srgbClr val="00AB68"/>
      </a:accent5>
      <a:accent6>
        <a:srgbClr val="FF5B34"/>
      </a:accent6>
      <a:hlink>
        <a:srgbClr val="004DD5"/>
      </a:hlink>
      <a:folHlink>
        <a:srgbClr val="B42504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F014A8C7-3C32-4B6B-A0EB-F21DFCE5E870}" vid="{AB598437-081B-4B8D-84B4-C2A4B47BDD7E}"/>
    </a:ext>
  </a:extLst>
</a:theme>
</file>

<file path=ppt/theme/theme5.xml><?xml version="1.0" encoding="utf-8"?>
<a:theme xmlns:a="http://schemas.openxmlformats.org/drawingml/2006/main" name="8_Theme1">
  <a:themeElements>
    <a:clrScheme name="Lions Club International">
      <a:dk1>
        <a:srgbClr val="00338D"/>
      </a:dk1>
      <a:lt1>
        <a:srgbClr val="FFFFFF"/>
      </a:lt1>
      <a:dk2>
        <a:srgbClr val="555659"/>
      </a:dk2>
      <a:lt2>
        <a:srgbClr val="B3B2B1"/>
      </a:lt2>
      <a:accent1>
        <a:srgbClr val="0D2140"/>
      </a:accent1>
      <a:accent2>
        <a:srgbClr val="EBB700"/>
      </a:accent2>
      <a:accent3>
        <a:srgbClr val="407CCA"/>
      </a:accent3>
      <a:accent4>
        <a:srgbClr val="792482"/>
      </a:accent4>
      <a:accent5>
        <a:srgbClr val="00AB68"/>
      </a:accent5>
      <a:accent6>
        <a:srgbClr val="FF5B34"/>
      </a:accent6>
      <a:hlink>
        <a:srgbClr val="004DD5"/>
      </a:hlink>
      <a:folHlink>
        <a:srgbClr val="B42504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F014A8C7-3C32-4B6B-A0EB-F21DFCE5E870}" vid="{AB598437-081B-4B8D-84B4-C2A4B47BDD7E}"/>
    </a:ext>
  </a:extLst>
</a:theme>
</file>

<file path=ppt/theme/theme6.xml><?xml version="1.0" encoding="utf-8"?>
<a:theme xmlns:a="http://schemas.openxmlformats.org/drawingml/2006/main" name="3_Lions Int'l">
  <a:themeElements>
    <a:clrScheme name="Lions Club International">
      <a:dk1>
        <a:srgbClr val="00338D"/>
      </a:dk1>
      <a:lt1>
        <a:srgbClr val="FFFFFF"/>
      </a:lt1>
      <a:dk2>
        <a:srgbClr val="555659"/>
      </a:dk2>
      <a:lt2>
        <a:srgbClr val="B3B2B1"/>
      </a:lt2>
      <a:accent1>
        <a:srgbClr val="0D2140"/>
      </a:accent1>
      <a:accent2>
        <a:srgbClr val="EBB700"/>
      </a:accent2>
      <a:accent3>
        <a:srgbClr val="407CCA"/>
      </a:accent3>
      <a:accent4>
        <a:srgbClr val="792482"/>
      </a:accent4>
      <a:accent5>
        <a:srgbClr val="00AB68"/>
      </a:accent5>
      <a:accent6>
        <a:srgbClr val="FF5B34"/>
      </a:accent6>
      <a:hlink>
        <a:srgbClr val="004DD5"/>
      </a:hlink>
      <a:folHlink>
        <a:srgbClr val="B42504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Lions Int'l">
  <a:themeElements>
    <a:clrScheme name="Lions Club International">
      <a:dk1>
        <a:srgbClr val="00338D"/>
      </a:dk1>
      <a:lt1>
        <a:srgbClr val="FFFFFF"/>
      </a:lt1>
      <a:dk2>
        <a:srgbClr val="555659"/>
      </a:dk2>
      <a:lt2>
        <a:srgbClr val="B3B2B1"/>
      </a:lt2>
      <a:accent1>
        <a:srgbClr val="0D2140"/>
      </a:accent1>
      <a:accent2>
        <a:srgbClr val="EBB700"/>
      </a:accent2>
      <a:accent3>
        <a:srgbClr val="407CCA"/>
      </a:accent3>
      <a:accent4>
        <a:srgbClr val="792482"/>
      </a:accent4>
      <a:accent5>
        <a:srgbClr val="00AB68"/>
      </a:accent5>
      <a:accent6>
        <a:srgbClr val="FF5B34"/>
      </a:accent6>
      <a:hlink>
        <a:srgbClr val="004DD5"/>
      </a:hlink>
      <a:folHlink>
        <a:srgbClr val="B42504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No Page Number">
  <a:themeElements>
    <a:clrScheme name="Lions Club International">
      <a:dk1>
        <a:srgbClr val="33373B"/>
      </a:dk1>
      <a:lt1>
        <a:sysClr val="window" lastClr="FFFFFF"/>
      </a:lt1>
      <a:dk2>
        <a:srgbClr val="002F87"/>
      </a:dk2>
      <a:lt2>
        <a:srgbClr val="FFD000"/>
      </a:lt2>
      <a:accent1>
        <a:srgbClr val="FFC000"/>
      </a:accent1>
      <a:accent2>
        <a:srgbClr val="D9D9D9"/>
      </a:accent2>
      <a:accent3>
        <a:srgbClr val="00A7DC"/>
      </a:accent3>
      <a:accent4>
        <a:srgbClr val="F65126"/>
      </a:accent4>
      <a:accent5>
        <a:srgbClr val="00AF66"/>
      </a:accent5>
      <a:accent6>
        <a:srgbClr val="000000"/>
      </a:accent6>
      <a:hlink>
        <a:srgbClr val="C3C3C3"/>
      </a:hlink>
      <a:folHlink>
        <a:srgbClr val="D9D9D9"/>
      </a:folHlink>
    </a:clrScheme>
    <a:fontScheme name="Custom 1">
      <a:majorFont>
        <a:latin typeface="Segoe UI Light"/>
        <a:ea typeface=""/>
        <a:cs typeface=""/>
      </a:majorFont>
      <a:minorFont>
        <a:latin typeface="Segoe UI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609600" marR="0" indent="-609600" algn="ctr" defTabSz="914400" rtl="0" eaLnBrk="1" fontAlgn="base" latinLnBrk="0" hangingPunct="1">
          <a:spcAft>
            <a:spcPct val="0"/>
          </a:spcAft>
          <a:buClrTx/>
          <a:buSzTx/>
          <a:buFont typeface="Helvetica" pitchFamily="84" charset="0"/>
          <a:buNone/>
          <a:tabLst/>
          <a:defRPr kumimoji="0" sz="3000" b="0" i="0" u="none" strike="noStrike" cap="none" normalizeH="0" dirty="0" err="1" smtClean="0">
            <a:ln>
              <a:noFill/>
            </a:ln>
            <a:solidFill>
              <a:srgbClr val="404040"/>
            </a:solidFill>
            <a:effectLst/>
            <a:ea typeface="ヒラギノ角ゴ Pro W3" pitchFamily="8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609600" marR="0" indent="-609600" algn="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 typeface="Helvetica" pitchFamily="84" charset="0"/>
          <a:buNone/>
          <a:tabLst/>
          <a:defRPr kumimoji="0" lang="en-US" sz="3200" b="0" i="0" u="none" strike="noStrike" cap="none" normalizeH="0" baseline="-25000" smtClean="0">
            <a:ln>
              <a:noFill/>
            </a:ln>
            <a:solidFill>
              <a:srgbClr val="404040"/>
            </a:solidFill>
            <a:effectLst/>
            <a:latin typeface="Helvetica" pitchFamily="84" charset="0"/>
            <a:ea typeface="ヒラギノ角ゴ Pro W3" pitchFamily="8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3000" dirty="0" err="1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e0eb3c3-61ce-4c68-b4a9-87a6ddf21ec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D1E625AD6A0148BC6E568EFED770CE" ma:contentTypeVersion="9" ma:contentTypeDescription="Create a new document." ma:contentTypeScope="" ma:versionID="ad4c9c8c761db58c42888848e9307267">
  <xsd:schema xmlns:xsd="http://www.w3.org/2001/XMLSchema" xmlns:xs="http://www.w3.org/2001/XMLSchema" xmlns:p="http://schemas.microsoft.com/office/2006/metadata/properties" xmlns:ns3="1e0eb3c3-61ce-4c68-b4a9-87a6ddf21ec2" xmlns:ns4="71a80e07-4cfe-44c9-967c-2ddd3fc61142" targetNamespace="http://schemas.microsoft.com/office/2006/metadata/properties" ma:root="true" ma:fieldsID="73d4e9dd6412d3b63e97d9339d21e894" ns3:_="" ns4:_="">
    <xsd:import namespace="1e0eb3c3-61ce-4c68-b4a9-87a6ddf21ec2"/>
    <xsd:import namespace="71a80e07-4cfe-44c9-967c-2ddd3fc6114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0eb3c3-61ce-4c68-b4a9-87a6ddf21e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80e07-4cfe-44c9-967c-2ddd3fc6114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A7D788-FA0F-4BE9-875E-D9C031AAADE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508AB5-28EF-453B-89F5-FF061FAF2003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1e0eb3c3-61ce-4c68-b4a9-87a6ddf21ec2"/>
    <ds:schemaRef ds:uri="http://purl.org/dc/elements/1.1/"/>
    <ds:schemaRef ds:uri="http://purl.org/dc/terms/"/>
    <ds:schemaRef ds:uri="71a80e07-4cfe-44c9-967c-2ddd3fc61142"/>
  </ds:schemaRefs>
</ds:datastoreItem>
</file>

<file path=customXml/itemProps3.xml><?xml version="1.0" encoding="utf-8"?>
<ds:datastoreItem xmlns:ds="http://schemas.openxmlformats.org/officeDocument/2006/customXml" ds:itemID="{31B14F50-C2FE-4587-9046-E41C60015C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0eb3c3-61ce-4c68-b4a9-87a6ddf21ec2"/>
    <ds:schemaRef ds:uri="71a80e07-4cfe-44c9-967c-2ddd3fc611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391</TotalTime>
  <Words>403</Words>
  <Application>Microsoft Macintosh PowerPoint</Application>
  <PresentationFormat>Widescreen</PresentationFormat>
  <Paragraphs>79</Paragraphs>
  <Slides>12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3" baseType="lpstr">
      <vt:lpstr>Aptos Black</vt:lpstr>
      <vt:lpstr>Arial</vt:lpstr>
      <vt:lpstr>Calibri</vt:lpstr>
      <vt:lpstr>Century Gothic</vt:lpstr>
      <vt:lpstr>Helvetica</vt:lpstr>
      <vt:lpstr>Lucida Grande</vt:lpstr>
      <vt:lpstr>Open Sans Light</vt:lpstr>
      <vt:lpstr>Open Sans Regular</vt:lpstr>
      <vt:lpstr>Segoe UI</vt:lpstr>
      <vt:lpstr>System Font Regular</vt:lpstr>
      <vt:lpstr>Wingdings</vt:lpstr>
      <vt:lpstr>ヒラギノ角ゴ Pro W3</vt:lpstr>
      <vt:lpstr>Office Theme</vt:lpstr>
      <vt:lpstr>Theme1</vt:lpstr>
      <vt:lpstr>Blue Page Number</vt:lpstr>
      <vt:lpstr>3_Theme1</vt:lpstr>
      <vt:lpstr>8_Theme1</vt:lpstr>
      <vt:lpstr>3_Lions Int'l</vt:lpstr>
      <vt:lpstr>Lions Int'l</vt:lpstr>
      <vt:lpstr>No Page Numb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beck, Lara</dc:creator>
  <cp:lastModifiedBy>lions@rettby.ch</cp:lastModifiedBy>
  <cp:revision>6981</cp:revision>
  <cp:lastPrinted>2021-08-02T14:24:19Z</cp:lastPrinted>
  <dcterms:created xsi:type="dcterms:W3CDTF">2020-08-19T15:32:31Z</dcterms:created>
  <dcterms:modified xsi:type="dcterms:W3CDTF">2024-11-01T10:1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D1E625AD6A0148BC6E568EFED770CE</vt:lpwstr>
  </property>
</Properties>
</file>